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9" r:id="rId4"/>
  </p:sldMasterIdLst>
  <p:notesMasterIdLst>
    <p:notesMasterId r:id="rId15"/>
  </p:notesMasterIdLst>
  <p:handoutMasterIdLst>
    <p:handoutMasterId r:id="rId16"/>
  </p:handoutMasterIdLst>
  <p:sldIdLst>
    <p:sldId id="2617" r:id="rId5"/>
    <p:sldId id="2618" r:id="rId6"/>
    <p:sldId id="2619" r:id="rId7"/>
    <p:sldId id="2620" r:id="rId8"/>
    <p:sldId id="2621" r:id="rId9"/>
    <p:sldId id="2622" r:id="rId10"/>
    <p:sldId id="2623" r:id="rId11"/>
    <p:sldId id="2624" r:id="rId12"/>
    <p:sldId id="2625" r:id="rId13"/>
    <p:sldId id="2626" r:id="rId14"/>
  </p:sldIdLst>
  <p:sldSz cx="12192000" cy="6858000"/>
  <p:notesSz cx="6858000" cy="9144000"/>
  <p:custDataLst>
    <p:tags r:id="rId1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3AA68DD-BE9E-4B44-8867-851053259D85}">
          <p14:sldIdLst>
            <p14:sldId id="2617"/>
            <p14:sldId id="2618"/>
            <p14:sldId id="2619"/>
            <p14:sldId id="2620"/>
            <p14:sldId id="2621"/>
            <p14:sldId id="2622"/>
            <p14:sldId id="2623"/>
            <p14:sldId id="2624"/>
            <p14:sldId id="2625"/>
            <p14:sldId id="2626"/>
          </p14:sldIdLst>
        </p14:section>
        <p14:section name="Additional Resources" id="{83D6E9B5-9A61-43FF-A12A-226C71546655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melir Wolfgang" initials="" lastIdx="16" clrIdx="0"/>
  <p:cmAuthor id="2" name="Weixlbaumer-Pekari Valerie" initials="" lastIdx="1" clrIdx="1"/>
  <p:cmAuthor id="3" name="Morawetz Rudolf" initials="" lastIdx="1" clrIdx="2"/>
  <p:cmAuthor id="4" name="Breneis Michael" initials="BM" lastIdx="2" clrIdx="3">
    <p:extLst>
      <p:ext uri="{19B8F6BF-5375-455C-9EA6-DF929625EA0E}">
        <p15:presenceInfo xmlns:p15="http://schemas.microsoft.com/office/powerpoint/2012/main" userId="S::Michael.Breneis@miba.com::e55dbfd4-0b79-4238-86f6-1dd5d2655ca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356E"/>
    <a:srgbClr val="FDC300"/>
    <a:srgbClr val="FCFEFD"/>
    <a:srgbClr val="A7AE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342" autoAdjust="0"/>
  </p:normalViewPr>
  <p:slideViewPr>
    <p:cSldViewPr snapToGrid="0" snapToObjects="1">
      <p:cViewPr varScale="1">
        <p:scale>
          <a:sx n="74" d="100"/>
          <a:sy n="74" d="100"/>
        </p:scale>
        <p:origin x="82" y="3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9" d="100"/>
        <a:sy n="149" d="100"/>
      </p:scale>
      <p:origin x="0" y="-2649"/>
    </p:cViewPr>
  </p:sorterViewPr>
  <p:notesViewPr>
    <p:cSldViewPr snapToGrid="0" snapToObjects="1" showGuides="1">
      <p:cViewPr varScale="1">
        <p:scale>
          <a:sx n="98" d="100"/>
          <a:sy n="98" d="100"/>
        </p:scale>
        <p:origin x="359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3DFC8B2-E4DA-A385-3DE9-1AF1A36380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51801F-B6CE-202E-20EC-E247FFB71E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0BECAC-CC3B-428E-B078-7987A971DB50}" type="datetimeFigureOut">
              <a:rPr lang="de-AT" smtClean="0"/>
              <a:t>15.03.2026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FBF286-4388-CE37-80B4-A341848F0F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4D0212-BB8C-2043-C834-32023BC503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ADDA12-D5D7-46EC-92C2-CE476A9B8E6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236705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AE8A8D1-58B4-FF0C-91A3-DB344DC4C6D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EB3723-F09D-01BA-FBAB-CAF93F1D604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ABA70EF-D67A-B04F-809D-37FC03DE3A8E}" type="datetimeFigureOut">
              <a:rPr lang="de-DE"/>
              <a:pPr>
                <a:defRPr/>
              </a:pPr>
              <a:t>15.03.2026</a:t>
            </a:fld>
            <a:endParaRPr lang="de-DE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C213CF9-CA23-8E03-B23B-18D2FC9A7A5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CCDEDBF8-0798-6B7F-EDEB-0362590C7E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A7812E-EC4F-CBC9-5BB3-D3A48691A6A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8B7675-D902-168C-FB16-B46F347452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46377D8-1024-1B48-9194-2A653371D59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5.jpeg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char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5">
            <a:extLst>
              <a:ext uri="{FF2B5EF4-FFF2-40B4-BE49-F238E27FC236}">
                <a16:creationId xmlns:a16="http://schemas.microsoft.com/office/drawing/2014/main" id="{3F2F19FC-4E9C-CB7E-436F-C5B9B438C5C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el 16">
            <a:extLst>
              <a:ext uri="{FF2B5EF4-FFF2-40B4-BE49-F238E27FC236}">
                <a16:creationId xmlns:a16="http://schemas.microsoft.com/office/drawing/2014/main" id="{3A91E640-9E3D-FA4C-4DE9-50FD11E45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151" y="2191768"/>
            <a:ext cx="5313849" cy="1077905"/>
          </a:xfrm>
        </p:spPr>
        <p:txBody>
          <a:bodyPr anchor="t"/>
          <a:lstStyle>
            <a:lvl1pPr marL="90000">
              <a:defRPr sz="3600" b="1"/>
            </a:lvl1pPr>
          </a:lstStyle>
          <a:p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add</a:t>
            </a:r>
            <a:r>
              <a:rPr lang="de-AT" dirty="0"/>
              <a:t> 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A368C99F-3717-A7E7-15CE-BD20597A82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2151" y="1659634"/>
            <a:ext cx="5313849" cy="522609"/>
          </a:xfrm>
        </p:spPr>
        <p:txBody>
          <a:bodyPr/>
          <a:lstStyle>
            <a:lvl1pPr marL="0" indent="0">
              <a:defRPr sz="3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AT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B5508AF-19F5-519E-DB0A-EC13BA7C34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2151" y="3285504"/>
            <a:ext cx="5313849" cy="379412"/>
          </a:xfrm>
        </p:spPr>
        <p:txBody>
          <a:bodyPr/>
          <a:lstStyle>
            <a:lvl1pPr marL="0" indent="0">
              <a:defRPr sz="18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pic>
        <p:nvPicPr>
          <p:cNvPr id="18" name="Grafik 24">
            <a:extLst>
              <a:ext uri="{FF2B5EF4-FFF2-40B4-BE49-F238E27FC236}">
                <a16:creationId xmlns:a16="http://schemas.microsoft.com/office/drawing/2014/main" id="{E58A0738-AB23-4361-A78F-1982C9B9EC6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139BF94-8039-4234-91E1-DF010EF12147}"/>
              </a:ext>
            </a:extLst>
          </p:cNvPr>
          <p:cNvGrpSpPr/>
          <p:nvPr userDrawn="1"/>
        </p:nvGrpSpPr>
        <p:grpSpPr>
          <a:xfrm>
            <a:off x="8159490" y="5019912"/>
            <a:ext cx="1403539" cy="1403539"/>
            <a:chOff x="7847617" y="1423798"/>
            <a:chExt cx="1403539" cy="140353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E6C5FBE-F068-4FCF-A153-119DDEA4A4DF}"/>
                </a:ext>
              </a:extLst>
            </p:cNvPr>
            <p:cNvSpPr/>
            <p:nvPr/>
          </p:nvSpPr>
          <p:spPr>
            <a:xfrm>
              <a:off x="7847617" y="1423798"/>
              <a:ext cx="1403539" cy="1403539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22" name="Picture 21" descr="A machine with many parts&#10;&#10;Description automatically generated">
              <a:extLst>
                <a:ext uri="{FF2B5EF4-FFF2-40B4-BE49-F238E27FC236}">
                  <a16:creationId xmlns:a16="http://schemas.microsoft.com/office/drawing/2014/main" id="{7D01FD68-6184-4C5E-87C3-76F555BA07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03329" y="1534682"/>
              <a:ext cx="1240192" cy="1204186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41CA56D-953F-42C7-BAA2-396A91EC6770}"/>
              </a:ext>
            </a:extLst>
          </p:cNvPr>
          <p:cNvGrpSpPr/>
          <p:nvPr userDrawn="1"/>
        </p:nvGrpSpPr>
        <p:grpSpPr>
          <a:xfrm>
            <a:off x="9636919" y="5019912"/>
            <a:ext cx="1403539" cy="1403539"/>
            <a:chOff x="7035718" y="2701381"/>
            <a:chExt cx="1339851" cy="1339851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6ED0E4C-FEC8-4E28-BA5D-214EF938471B}"/>
                </a:ext>
              </a:extLst>
            </p:cNvPr>
            <p:cNvSpPr/>
            <p:nvPr/>
          </p:nvSpPr>
          <p:spPr>
            <a:xfrm>
              <a:off x="7035718" y="2701381"/>
              <a:ext cx="1339851" cy="1339851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25" name="Picture 24" descr="A silver metal object with a white cap&#10;&#10;Description automatically generated with medium confidence">
              <a:extLst>
                <a:ext uri="{FF2B5EF4-FFF2-40B4-BE49-F238E27FC236}">
                  <a16:creationId xmlns:a16="http://schemas.microsoft.com/office/drawing/2014/main" id="{A58044AE-6D42-448B-B55A-ADD4D9522B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42887" y="2870634"/>
              <a:ext cx="1332682" cy="948317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C51B94-E989-4598-8C57-244B3D445ECD}"/>
              </a:ext>
            </a:extLst>
          </p:cNvPr>
          <p:cNvGrpSpPr/>
          <p:nvPr userDrawn="1"/>
        </p:nvGrpSpPr>
        <p:grpSpPr>
          <a:xfrm>
            <a:off x="2247926" y="5019912"/>
            <a:ext cx="1404000" cy="1404000"/>
            <a:chOff x="4759622" y="1047655"/>
            <a:chExt cx="1404000" cy="14040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612CE97-4654-4F62-8583-D3E984CDA798}"/>
                </a:ext>
              </a:extLst>
            </p:cNvPr>
            <p:cNvSpPr/>
            <p:nvPr/>
          </p:nvSpPr>
          <p:spPr>
            <a:xfrm>
              <a:off x="4759622" y="1047655"/>
              <a:ext cx="1404000" cy="1404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28" name="Picture 27" descr="A close-up of a metal object&#10;&#10;Description automatically generated">
              <a:extLst>
                <a:ext uri="{FF2B5EF4-FFF2-40B4-BE49-F238E27FC236}">
                  <a16:creationId xmlns:a16="http://schemas.microsoft.com/office/drawing/2014/main" id="{03555B75-5657-4054-A978-B5437B111F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53566" y="1207894"/>
              <a:ext cx="1245531" cy="105303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F3730B6-B865-4032-B72F-67AB4A51EE73}"/>
              </a:ext>
            </a:extLst>
          </p:cNvPr>
          <p:cNvGrpSpPr/>
          <p:nvPr userDrawn="1"/>
        </p:nvGrpSpPr>
        <p:grpSpPr>
          <a:xfrm>
            <a:off x="770035" y="5019912"/>
            <a:ext cx="1404000" cy="1404000"/>
            <a:chOff x="3313167" y="1047655"/>
            <a:chExt cx="1404000" cy="14040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14B2846-0EEC-4F01-9CCF-78217859D457}"/>
                </a:ext>
              </a:extLst>
            </p:cNvPr>
            <p:cNvSpPr/>
            <p:nvPr/>
          </p:nvSpPr>
          <p:spPr>
            <a:xfrm>
              <a:off x="3313167" y="1047655"/>
              <a:ext cx="1404000" cy="1404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31" name="Picture 30" descr="A close-up of a gear&#10;&#10;Description automatically generated">
              <a:extLst>
                <a:ext uri="{FF2B5EF4-FFF2-40B4-BE49-F238E27FC236}">
                  <a16:creationId xmlns:a16="http://schemas.microsoft.com/office/drawing/2014/main" id="{85948859-A623-4FD4-8BC7-1E77926D88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09907" y="1256092"/>
              <a:ext cx="1223930" cy="1126057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9AA742E-4042-4484-B31D-02B49E17F9F3}"/>
              </a:ext>
            </a:extLst>
          </p:cNvPr>
          <p:cNvGrpSpPr/>
          <p:nvPr userDrawn="1"/>
        </p:nvGrpSpPr>
        <p:grpSpPr>
          <a:xfrm>
            <a:off x="5203708" y="5019912"/>
            <a:ext cx="1404000" cy="1404000"/>
            <a:chOff x="11064209" y="5028860"/>
            <a:chExt cx="1404000" cy="1404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0A7393D-C27B-47C9-BC05-3978CB269CA3}"/>
                </a:ext>
              </a:extLst>
            </p:cNvPr>
            <p:cNvSpPr/>
            <p:nvPr/>
          </p:nvSpPr>
          <p:spPr>
            <a:xfrm>
              <a:off x="11064209" y="5028860"/>
              <a:ext cx="1404000" cy="1404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34" name="Picture 33" descr="A white electrical device with metal screws&#10;&#10;Description automatically generated">
              <a:extLst>
                <a:ext uri="{FF2B5EF4-FFF2-40B4-BE49-F238E27FC236}">
                  <a16:creationId xmlns:a16="http://schemas.microsoft.com/office/drawing/2014/main" id="{E72159AB-B175-4C66-BAAB-2A45F94D12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141366" y="5197671"/>
              <a:ext cx="1238714" cy="1165915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81C518-ECC4-4B3A-BEE5-AA91D6B59822}"/>
              </a:ext>
            </a:extLst>
          </p:cNvPr>
          <p:cNvGrpSpPr/>
          <p:nvPr userDrawn="1"/>
        </p:nvGrpSpPr>
        <p:grpSpPr>
          <a:xfrm>
            <a:off x="6681599" y="5019912"/>
            <a:ext cx="1404000" cy="1404000"/>
            <a:chOff x="9099603" y="1047655"/>
            <a:chExt cx="1404000" cy="14040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5840909-3600-4CD2-9CD5-583B6D1B09CD}"/>
                </a:ext>
              </a:extLst>
            </p:cNvPr>
            <p:cNvSpPr/>
            <p:nvPr/>
          </p:nvSpPr>
          <p:spPr>
            <a:xfrm>
              <a:off x="9099603" y="1047655"/>
              <a:ext cx="1404000" cy="1404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37" name="Picture 36" descr="A close-up of a gear&#10;&#10;Description automatically generated">
              <a:extLst>
                <a:ext uri="{FF2B5EF4-FFF2-40B4-BE49-F238E27FC236}">
                  <a16:creationId xmlns:a16="http://schemas.microsoft.com/office/drawing/2014/main" id="{416E75CB-3979-4123-BB6A-7D6FD7F608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23763" y="1253060"/>
              <a:ext cx="1177494" cy="1032819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B130E10-4894-44B5-B352-F3E2B33087B9}"/>
              </a:ext>
            </a:extLst>
          </p:cNvPr>
          <p:cNvGrpSpPr/>
          <p:nvPr userDrawn="1"/>
        </p:nvGrpSpPr>
        <p:grpSpPr>
          <a:xfrm>
            <a:off x="3725817" y="5019912"/>
            <a:ext cx="1404000" cy="1404000"/>
            <a:chOff x="6206077" y="1047655"/>
            <a:chExt cx="1404000" cy="1404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E88105F-2130-4E41-8585-611969A18AD1}"/>
                </a:ext>
              </a:extLst>
            </p:cNvPr>
            <p:cNvSpPr/>
            <p:nvPr/>
          </p:nvSpPr>
          <p:spPr>
            <a:xfrm>
              <a:off x="6206077" y="1047655"/>
              <a:ext cx="1404000" cy="1404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8C989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/>
            </a:p>
          </p:txBody>
        </p:sp>
        <p:pic>
          <p:nvPicPr>
            <p:cNvPr id="40" name="Picture 39" descr="A close-up of a circular metal ring&#10;&#10;Description automatically generated">
              <a:extLst>
                <a:ext uri="{FF2B5EF4-FFF2-40B4-BE49-F238E27FC236}">
                  <a16:creationId xmlns:a16="http://schemas.microsoft.com/office/drawing/2014/main" id="{4A338D66-D683-4B66-BC06-9D421CD8B4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86703" y="1184727"/>
              <a:ext cx="1153939" cy="10618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908546"/>
      </p:ext>
    </p:extLst>
  </p:cSld>
  <p:clrMapOvr>
    <a:masterClrMapping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_Head- &amp; Subline with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46C302D1-FA36-48E1-833A-25B1979F46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9622800-CCC0-4469-95A5-D68056FA46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0098B413-95B5-460B-8392-A714672C6BD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FC1255F6-4E2C-442F-B890-37B564E99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BD73FD79-E009-4747-BB8F-6857E42E56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uppieren 1">
            <a:extLst>
              <a:ext uri="{FF2B5EF4-FFF2-40B4-BE49-F238E27FC236}">
                <a16:creationId xmlns:a16="http://schemas.microsoft.com/office/drawing/2014/main" id="{77CB709A-2FBA-4FCB-9958-C07F9AD6790F}"/>
              </a:ext>
            </a:extLst>
          </p:cNvPr>
          <p:cNvGrpSpPr/>
          <p:nvPr userDrawn="1"/>
        </p:nvGrpSpPr>
        <p:grpSpPr>
          <a:xfrm>
            <a:off x="0" y="-31898"/>
            <a:ext cx="2721936" cy="230832"/>
            <a:chOff x="0" y="-31898"/>
            <a:chExt cx="2721936" cy="230832"/>
          </a:xfrm>
        </p:grpSpPr>
        <p:sp>
          <p:nvSpPr>
            <p:cNvPr id="14" name="Rechtwinkliges Dreieck 83">
              <a:extLst>
                <a:ext uri="{FF2B5EF4-FFF2-40B4-BE49-F238E27FC236}">
                  <a16:creationId xmlns:a16="http://schemas.microsoft.com/office/drawing/2014/main" id="{39956DA2-14AA-4C05-93ED-B98AC419634B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>
              <a:off x="0" y="4230"/>
              <a:ext cx="2721935" cy="179296"/>
            </a:xfrm>
            <a:custGeom>
              <a:avLst/>
              <a:gdLst/>
              <a:ahLst/>
              <a:cxnLst/>
              <a:rect l="l" t="t" r="r" b="b"/>
              <a:pathLst>
                <a:path w="4190043" h="360163">
                  <a:moveTo>
                    <a:pt x="3825082" y="360000"/>
                  </a:moveTo>
                  <a:lnTo>
                    <a:pt x="4190043" y="360000"/>
                  </a:lnTo>
                  <a:lnTo>
                    <a:pt x="3825082" y="0"/>
                  </a:lnTo>
                  <a:close/>
                  <a:moveTo>
                    <a:pt x="0" y="360163"/>
                  </a:moveTo>
                  <a:lnTo>
                    <a:pt x="3823865" y="360163"/>
                  </a:lnTo>
                  <a:lnTo>
                    <a:pt x="3823865" y="16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Textfeld 6">
              <a:extLst>
                <a:ext uri="{FF2B5EF4-FFF2-40B4-BE49-F238E27FC236}">
                  <a16:creationId xmlns:a16="http://schemas.microsoft.com/office/drawing/2014/main" id="{F64E3DCF-AF68-435F-B2C3-549CBDF369C9}"/>
                </a:ext>
              </a:extLst>
            </p:cNvPr>
            <p:cNvSpPr txBox="1"/>
            <p:nvPr/>
          </p:nvSpPr>
          <p:spPr>
            <a:xfrm>
              <a:off x="263496" y="-31898"/>
              <a:ext cx="24584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900" b="1" dirty="0">
                  <a:solidFill>
                    <a:srgbClr val="FFFFFF"/>
                  </a:solidFill>
                  <a:latin typeface="+mj-lt"/>
                </a:rPr>
                <a:t>STRICTLY CONFIDENTIAL </a:t>
              </a:r>
              <a:endParaRPr lang="de-DE" sz="900" b="1" dirty="0">
                <a:solidFill>
                  <a:srgbClr val="FFFFFF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4696218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A5AA79D-ADCD-4372-9F34-72DD3F013F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C2F1C82-6B2B-44C3-BBCC-70850A97A1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2A8B2908-E94B-49D6-939F-87B8B598956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9318F3EE-38A6-4476-9148-0318B8AF10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5227942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content and key messag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DAA9099-A69D-4032-98BA-D9B17DBCF8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C2F1C82-6B2B-44C3-BBCC-70850A97A1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4037696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2A8B2908-E94B-49D6-939F-87B8B598956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9318F3EE-38A6-4476-9148-0318B8AF10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70833AC-E1A4-4A2C-8C29-59FDB4E2D1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6325" y="5282110"/>
            <a:ext cx="10634663" cy="841375"/>
          </a:xfrm>
        </p:spPr>
        <p:txBody>
          <a:bodyPr anchor="ctr"/>
          <a:lstStyle>
            <a:lvl1pPr marL="0" indent="0">
              <a:defRPr sz="2400" b="1"/>
            </a:lvl1pPr>
          </a:lstStyle>
          <a:p>
            <a:pPr lvl="0"/>
            <a:r>
              <a:rPr lang="en-US" dirty="0"/>
              <a:t>Click to add key message</a:t>
            </a:r>
          </a:p>
        </p:txBody>
      </p:sp>
    </p:spTree>
    <p:extLst>
      <p:ext uri="{BB962C8B-B14F-4D97-AF65-F5344CB8AC3E}">
        <p14:creationId xmlns:p14="http://schemas.microsoft.com/office/powerpoint/2010/main" val="1749597318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_Headline with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DBA9861-1944-46F0-9BA2-6546293586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1082621-DB2C-7C4B-D269-AD4379BA2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85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1" imgH="91" progId="TCLayout.ActiveDocument.1">
                  <p:embed/>
                </p:oleObj>
              </mc:Choice>
              <mc:Fallback>
                <p:oleObj name="think-cell Slide" r:id="rId4" imgW="91" imgH="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1082621-DB2C-7C4B-D269-AD4379BA2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C2F1C82-6B2B-44C3-BBCC-70850A97A1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  <a:lvl6pPr marL="1604394" indent="0">
              <a:buNone/>
              <a:defRPr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9318F3EE-38A6-4476-9148-0318B8AF10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CEAB916-BAA6-657F-93D8-DE36510414D0}"/>
              </a:ext>
            </a:extLst>
          </p:cNvPr>
          <p:cNvGrpSpPr/>
          <p:nvPr userDrawn="1"/>
        </p:nvGrpSpPr>
        <p:grpSpPr>
          <a:xfrm>
            <a:off x="0" y="-31898"/>
            <a:ext cx="2721936" cy="230832"/>
            <a:chOff x="0" y="-31898"/>
            <a:chExt cx="2721936" cy="230832"/>
          </a:xfrm>
        </p:grpSpPr>
        <p:sp>
          <p:nvSpPr>
            <p:cNvPr id="6" name="Rechtwinkliges Dreieck 83">
              <a:extLst>
                <a:ext uri="{FF2B5EF4-FFF2-40B4-BE49-F238E27FC236}">
                  <a16:creationId xmlns:a16="http://schemas.microsoft.com/office/drawing/2014/main" id="{9CD2DC8E-BD4E-B1BB-444D-130C2F539E1C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>
              <a:off x="0" y="4230"/>
              <a:ext cx="2721935" cy="179296"/>
            </a:xfrm>
            <a:custGeom>
              <a:avLst/>
              <a:gdLst/>
              <a:ahLst/>
              <a:cxnLst/>
              <a:rect l="l" t="t" r="r" b="b"/>
              <a:pathLst>
                <a:path w="4190043" h="360163">
                  <a:moveTo>
                    <a:pt x="3825082" y="360000"/>
                  </a:moveTo>
                  <a:lnTo>
                    <a:pt x="4190043" y="360000"/>
                  </a:lnTo>
                  <a:lnTo>
                    <a:pt x="3825082" y="0"/>
                  </a:lnTo>
                  <a:close/>
                  <a:moveTo>
                    <a:pt x="0" y="360163"/>
                  </a:moveTo>
                  <a:lnTo>
                    <a:pt x="3823865" y="360163"/>
                  </a:lnTo>
                  <a:lnTo>
                    <a:pt x="3823865" y="16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EBA9A442-81C5-8C72-77F7-D7F371784FD8}"/>
                </a:ext>
              </a:extLst>
            </p:cNvPr>
            <p:cNvSpPr txBox="1"/>
            <p:nvPr/>
          </p:nvSpPr>
          <p:spPr>
            <a:xfrm>
              <a:off x="263496" y="-31898"/>
              <a:ext cx="24584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900" b="1" dirty="0">
                  <a:solidFill>
                    <a:srgbClr val="FFFFFF"/>
                  </a:solidFill>
                  <a:latin typeface="+mj-lt"/>
                </a:rPr>
                <a:t>STRICTLY CONFIDENTIAL </a:t>
              </a:r>
              <a:endParaRPr lang="de-DE" sz="900" b="1" dirty="0">
                <a:solidFill>
                  <a:srgbClr val="FFFFFF"/>
                </a:solidFill>
                <a:latin typeface="+mj-lt"/>
              </a:endParaRPr>
            </a:p>
          </p:txBody>
        </p:sp>
      </p:grpSp>
      <p:sp>
        <p:nvSpPr>
          <p:cNvPr id="13" name="Titel 5">
            <a:extLst>
              <a:ext uri="{FF2B5EF4-FFF2-40B4-BE49-F238E27FC236}">
                <a16:creationId xmlns:a16="http://schemas.microsoft.com/office/drawing/2014/main" id="{2193DA55-4EB7-6D2C-1C4D-37DFFD91A57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790589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Titel 5">
            <a:extLst>
              <a:ext uri="{FF2B5EF4-FFF2-40B4-BE49-F238E27FC236}">
                <a16:creationId xmlns:a16="http://schemas.microsoft.com/office/drawing/2014/main" id="{0A13E7FB-85A7-71B1-7498-04B8A4CC0D2F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9C3E20F-E560-6025-AA0F-225F1F55C8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B43B7D-93FE-3EE4-08E3-B6C15164A7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  <a:lvl6pPr marL="1604394" indent="0">
              <a:buNone/>
              <a:defRPr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50815392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content and key mess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Titel 5">
            <a:extLst>
              <a:ext uri="{FF2B5EF4-FFF2-40B4-BE49-F238E27FC236}">
                <a16:creationId xmlns:a16="http://schemas.microsoft.com/office/drawing/2014/main" id="{0A13E7FB-85A7-71B1-7498-04B8A4CC0D2F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9C3E20F-E560-6025-AA0F-225F1F55C8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B43B7D-93FE-3EE4-08E3-B6C15164A7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1" y="1105945"/>
            <a:ext cx="11316037" cy="4257860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  <a:lvl6pPr marL="1604394" indent="0">
              <a:buNone/>
              <a:defRPr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DA64182-9C87-43A5-A2B4-56B0687916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6325" y="5559425"/>
            <a:ext cx="10634663" cy="841375"/>
          </a:xfrm>
        </p:spPr>
        <p:txBody>
          <a:bodyPr anchor="ctr"/>
          <a:lstStyle>
            <a:lvl1pPr marL="0" indent="0">
              <a:defRPr sz="2400" b="1"/>
            </a:lvl1pPr>
          </a:lstStyle>
          <a:p>
            <a:pPr lvl="0"/>
            <a:r>
              <a:rPr lang="en-US" dirty="0"/>
              <a:t>Click to add key messag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835971060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 Head- &amp; Subline with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Titel 5">
            <a:extLst>
              <a:ext uri="{FF2B5EF4-FFF2-40B4-BE49-F238E27FC236}">
                <a16:creationId xmlns:a16="http://schemas.microsoft.com/office/drawing/2014/main" id="{0A13E7FB-85A7-71B1-7498-04B8A4CC0D2F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9C3E20F-E560-6025-AA0F-225F1F55C8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B43B7D-93FE-3EE4-08E3-B6C15164A7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  <a:lvl6pPr marL="1604394" indent="0">
              <a:buNone/>
              <a:defRPr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7" name="Gruppieren 1">
            <a:extLst>
              <a:ext uri="{FF2B5EF4-FFF2-40B4-BE49-F238E27FC236}">
                <a16:creationId xmlns:a16="http://schemas.microsoft.com/office/drawing/2014/main" id="{8321621B-3865-4AF3-9F43-3CEF9E9E10DD}"/>
              </a:ext>
            </a:extLst>
          </p:cNvPr>
          <p:cNvGrpSpPr/>
          <p:nvPr userDrawn="1"/>
        </p:nvGrpSpPr>
        <p:grpSpPr>
          <a:xfrm>
            <a:off x="0" y="-31898"/>
            <a:ext cx="2721936" cy="230832"/>
            <a:chOff x="0" y="-31898"/>
            <a:chExt cx="2721936" cy="230832"/>
          </a:xfrm>
        </p:grpSpPr>
        <p:sp>
          <p:nvSpPr>
            <p:cNvPr id="8" name="Rechtwinkliges Dreieck 83">
              <a:extLst>
                <a:ext uri="{FF2B5EF4-FFF2-40B4-BE49-F238E27FC236}">
                  <a16:creationId xmlns:a16="http://schemas.microsoft.com/office/drawing/2014/main" id="{D4A48EDE-62BA-46FB-A585-4CB58A8FF1B7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>
              <a:off x="0" y="4230"/>
              <a:ext cx="2721935" cy="179296"/>
            </a:xfrm>
            <a:custGeom>
              <a:avLst/>
              <a:gdLst/>
              <a:ahLst/>
              <a:cxnLst/>
              <a:rect l="l" t="t" r="r" b="b"/>
              <a:pathLst>
                <a:path w="4190043" h="360163">
                  <a:moveTo>
                    <a:pt x="3825082" y="360000"/>
                  </a:moveTo>
                  <a:lnTo>
                    <a:pt x="4190043" y="360000"/>
                  </a:lnTo>
                  <a:lnTo>
                    <a:pt x="3825082" y="0"/>
                  </a:lnTo>
                  <a:close/>
                  <a:moveTo>
                    <a:pt x="0" y="360163"/>
                  </a:moveTo>
                  <a:lnTo>
                    <a:pt x="3823865" y="360163"/>
                  </a:lnTo>
                  <a:lnTo>
                    <a:pt x="3823865" y="16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feld 6">
              <a:extLst>
                <a:ext uri="{FF2B5EF4-FFF2-40B4-BE49-F238E27FC236}">
                  <a16:creationId xmlns:a16="http://schemas.microsoft.com/office/drawing/2014/main" id="{D5396C7F-A58C-4650-8DA5-371C3371EC22}"/>
                </a:ext>
              </a:extLst>
            </p:cNvPr>
            <p:cNvSpPr txBox="1"/>
            <p:nvPr/>
          </p:nvSpPr>
          <p:spPr>
            <a:xfrm>
              <a:off x="263496" y="-31898"/>
              <a:ext cx="24584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900" b="1" dirty="0">
                  <a:solidFill>
                    <a:srgbClr val="FFFFFF"/>
                  </a:solidFill>
                  <a:latin typeface="+mj-lt"/>
                </a:rPr>
                <a:t>STRICTLY CONFIDENTIAL </a:t>
              </a:r>
              <a:endParaRPr lang="de-DE" sz="900" b="1" dirty="0">
                <a:solidFill>
                  <a:srgbClr val="FFFFFF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4747444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11700952-2060-2D32-2642-F7C215FAD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03CF21D-BA9C-48FC-A3CB-922CA86B32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20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marL="72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2pPr>
            <a:lvl3pPr marL="108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144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4pPr>
            <a:lvl5pPr marL="180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2524411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content and key mess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11700952-2060-2D32-2642-F7C215FAD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03CF21D-BA9C-48FC-A3CB-922CA86B32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4257860"/>
          </a:xfrm>
        </p:spPr>
        <p:txBody>
          <a:bodyPr/>
          <a:lstStyle>
            <a:lvl1pPr marL="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20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marL="72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2pPr>
            <a:lvl3pPr marL="108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144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4pPr>
            <a:lvl5pPr marL="180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760EF141-89B0-40FD-A694-53A27BB6A2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6325" y="5559425"/>
            <a:ext cx="10634663" cy="841375"/>
          </a:xfrm>
        </p:spPr>
        <p:txBody>
          <a:bodyPr anchor="ctr"/>
          <a:lstStyle>
            <a:lvl1pPr marL="0" indent="0">
              <a:defRPr sz="2400" b="1"/>
            </a:lvl1pPr>
          </a:lstStyle>
          <a:p>
            <a:pPr lvl="0"/>
            <a:r>
              <a:rPr lang="en-US" dirty="0"/>
              <a:t>Click to add key messag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2793719879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_Headline with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11700952-2060-2D32-2642-F7C215FAD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03CF21D-BA9C-48FC-A3CB-922CA86B32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20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marL="72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2pPr>
            <a:lvl3pPr marL="108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144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4pPr>
            <a:lvl5pPr marL="1800000" indent="-288000" algn="l" defTabSz="608013" rtl="0" eaLnBrk="0" fontAlgn="base" hangingPunc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6" name="Gruppieren 1">
            <a:extLst>
              <a:ext uri="{FF2B5EF4-FFF2-40B4-BE49-F238E27FC236}">
                <a16:creationId xmlns:a16="http://schemas.microsoft.com/office/drawing/2014/main" id="{7E93901D-4172-41FA-9DC0-7C515F08B0F4}"/>
              </a:ext>
            </a:extLst>
          </p:cNvPr>
          <p:cNvGrpSpPr/>
          <p:nvPr userDrawn="1"/>
        </p:nvGrpSpPr>
        <p:grpSpPr>
          <a:xfrm>
            <a:off x="0" y="-31898"/>
            <a:ext cx="2721936" cy="230832"/>
            <a:chOff x="0" y="-31898"/>
            <a:chExt cx="2721936" cy="230832"/>
          </a:xfrm>
        </p:grpSpPr>
        <p:sp>
          <p:nvSpPr>
            <p:cNvPr id="8" name="Rechtwinkliges Dreieck 83">
              <a:extLst>
                <a:ext uri="{FF2B5EF4-FFF2-40B4-BE49-F238E27FC236}">
                  <a16:creationId xmlns:a16="http://schemas.microsoft.com/office/drawing/2014/main" id="{964C41ED-9811-45B5-94BA-7D7949FB8231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>
              <a:off x="0" y="4230"/>
              <a:ext cx="2721935" cy="179296"/>
            </a:xfrm>
            <a:custGeom>
              <a:avLst/>
              <a:gdLst/>
              <a:ahLst/>
              <a:cxnLst/>
              <a:rect l="l" t="t" r="r" b="b"/>
              <a:pathLst>
                <a:path w="4190043" h="360163">
                  <a:moveTo>
                    <a:pt x="3825082" y="360000"/>
                  </a:moveTo>
                  <a:lnTo>
                    <a:pt x="4190043" y="360000"/>
                  </a:lnTo>
                  <a:lnTo>
                    <a:pt x="3825082" y="0"/>
                  </a:lnTo>
                  <a:close/>
                  <a:moveTo>
                    <a:pt x="0" y="360163"/>
                  </a:moveTo>
                  <a:lnTo>
                    <a:pt x="3823865" y="360163"/>
                  </a:lnTo>
                  <a:lnTo>
                    <a:pt x="3823865" y="16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feld 6">
              <a:extLst>
                <a:ext uri="{FF2B5EF4-FFF2-40B4-BE49-F238E27FC236}">
                  <a16:creationId xmlns:a16="http://schemas.microsoft.com/office/drawing/2014/main" id="{FA1884A8-D429-4F1C-8B80-ECE3A56D5F22}"/>
                </a:ext>
              </a:extLst>
            </p:cNvPr>
            <p:cNvSpPr txBox="1"/>
            <p:nvPr/>
          </p:nvSpPr>
          <p:spPr>
            <a:xfrm>
              <a:off x="263496" y="-31898"/>
              <a:ext cx="24584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900" b="1" dirty="0">
                  <a:solidFill>
                    <a:srgbClr val="FFFFFF"/>
                  </a:solidFill>
                  <a:latin typeface="+mj-lt"/>
                </a:rPr>
                <a:t>STRICTLY CONFIDENTIAL </a:t>
              </a:r>
              <a:endParaRPr lang="de-DE" sz="900" b="1" dirty="0">
                <a:solidFill>
                  <a:srgbClr val="FFFFFF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4840005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chart A with custom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5">
            <a:extLst>
              <a:ext uri="{FF2B5EF4-FFF2-40B4-BE49-F238E27FC236}">
                <a16:creationId xmlns:a16="http://schemas.microsoft.com/office/drawing/2014/main" id="{3F2F19FC-4E9C-CB7E-436F-C5B9B438C5C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el 16">
            <a:extLst>
              <a:ext uri="{FF2B5EF4-FFF2-40B4-BE49-F238E27FC236}">
                <a16:creationId xmlns:a16="http://schemas.microsoft.com/office/drawing/2014/main" id="{3A91E640-9E3D-FA4C-4DE9-50FD11E45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151" y="2191768"/>
            <a:ext cx="5313849" cy="1077905"/>
          </a:xfrm>
        </p:spPr>
        <p:txBody>
          <a:bodyPr anchor="t"/>
          <a:lstStyle>
            <a:lvl1pPr marL="90000">
              <a:defRPr sz="3600" b="1"/>
            </a:lvl1pPr>
          </a:lstStyle>
          <a:p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add</a:t>
            </a:r>
            <a:r>
              <a:rPr lang="de-AT" dirty="0"/>
              <a:t> 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A368C99F-3717-A7E7-15CE-BD20597A82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2151" y="1659634"/>
            <a:ext cx="5313849" cy="522609"/>
          </a:xfrm>
        </p:spPr>
        <p:txBody>
          <a:bodyPr/>
          <a:lstStyle>
            <a:lvl1pPr marL="0" indent="0">
              <a:defRPr sz="3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AT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B5508AF-19F5-519E-DB0A-EC13BA7C34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2151" y="3285504"/>
            <a:ext cx="5313849" cy="379412"/>
          </a:xfrm>
        </p:spPr>
        <p:txBody>
          <a:bodyPr/>
          <a:lstStyle>
            <a:lvl1pPr marL="0" indent="0">
              <a:defRPr sz="18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pic>
        <p:nvPicPr>
          <p:cNvPr id="18" name="Grafik 24">
            <a:extLst>
              <a:ext uri="{FF2B5EF4-FFF2-40B4-BE49-F238E27FC236}">
                <a16:creationId xmlns:a16="http://schemas.microsoft.com/office/drawing/2014/main" id="{E58A0738-AB23-4361-A78F-1982C9B9EC6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0A464DEA-0B92-4DA8-8B3C-56D40B36DC8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3356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algn="ctr">
              <a:spcAft>
                <a:spcPts val="0"/>
              </a:spcAft>
              <a:defRPr sz="9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4" name="Picture Placeholder 32">
            <a:extLst>
              <a:ext uri="{FF2B5EF4-FFF2-40B4-BE49-F238E27FC236}">
                <a16:creationId xmlns:a16="http://schemas.microsoft.com/office/drawing/2014/main" id="{3EE86F12-E1BE-4041-AF3B-7E44C9B4F41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21241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5" name="Picture Placeholder 32">
            <a:extLst>
              <a:ext uri="{FF2B5EF4-FFF2-40B4-BE49-F238E27FC236}">
                <a16:creationId xmlns:a16="http://schemas.microsoft.com/office/drawing/2014/main" id="{38643FAC-89DE-40EF-84CC-FA1403D3DBC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09125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6" name="Picture Placeholder 32">
            <a:extLst>
              <a:ext uri="{FF2B5EF4-FFF2-40B4-BE49-F238E27FC236}">
                <a16:creationId xmlns:a16="http://schemas.microsoft.com/office/drawing/2014/main" id="{FA6662E1-525A-4D59-B2EE-B3D3EBE15C1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91850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7" name="Picture Placeholder 32">
            <a:extLst>
              <a:ext uri="{FF2B5EF4-FFF2-40B4-BE49-F238E27FC236}">
                <a16:creationId xmlns:a16="http://schemas.microsoft.com/office/drawing/2014/main" id="{1F973B9A-FFCA-4C44-9E11-3A3CF0CBD0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79735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8" name="Picture Placeholder 32">
            <a:extLst>
              <a:ext uri="{FF2B5EF4-FFF2-40B4-BE49-F238E27FC236}">
                <a16:creationId xmlns:a16="http://schemas.microsoft.com/office/drawing/2014/main" id="{C7FDB591-A6E2-4F42-8A1F-F3748A1B6EC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67619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  <p:sp>
        <p:nvSpPr>
          <p:cNvPr id="39" name="Picture Placeholder 32">
            <a:extLst>
              <a:ext uri="{FF2B5EF4-FFF2-40B4-BE49-F238E27FC236}">
                <a16:creationId xmlns:a16="http://schemas.microsoft.com/office/drawing/2014/main" id="{C10E61A2-8ACA-46BE-BABF-897073B266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655038" y="4987856"/>
            <a:ext cx="1440000" cy="1440000"/>
          </a:xfrm>
          <a:prstGeom prst="ellipse">
            <a:avLst/>
          </a:prstGeom>
          <a:solidFill>
            <a:srgbClr val="FCFEFD"/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anchor="t"/>
          <a:lstStyle>
            <a:lvl1pPr marL="455613" indent="-455613" algn="ctr" defTabSz="608013" rtl="0" eaLnBrk="0" fontAlgn="base" hangingPunct="0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defRPr lang="en-AT" sz="9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3659479012"/>
      </p:ext>
    </p:extLst>
  </p:cSld>
  <p:clrMapOvr>
    <a:masterClrMapping/>
  </p:clrMapOvr>
  <p:transition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image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1FE537-E692-4439-8AFA-C55D31FA0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640637EE-804F-6A3B-2C16-DE89D53D3C9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89025"/>
            <a:ext cx="6096000" cy="502285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34A66B26-0E9D-480D-BE8E-4C7A3A5A5D8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B040F0D9-B9CE-4187-9AB3-B6AE879EB9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43599E53-6FF5-4816-B1B4-B2AB90C896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E5175D78-AD6B-4F63-9E55-F3F8713168C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666" y="1495039"/>
            <a:ext cx="4985321" cy="4279037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96125693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image and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640637EE-804F-6A3B-2C16-DE89D53D3C9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89025"/>
            <a:ext cx="6096000" cy="502285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F4047684-76C0-4B89-85A2-7321F2D60F7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90F6FBE-9CDF-4F9A-A9EB-A5C853A437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917DE58-EE99-46C5-8634-A663B8B5BE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666" y="1495039"/>
            <a:ext cx="4985321" cy="4279037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72174119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4 imagees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F40038A-B769-4AAB-A4CC-B3FD41705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0573AD39-885A-AF69-7C6D-73F6C7BC074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33964" y="1103313"/>
            <a:ext cx="3514135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54ED6076-38C4-EBA5-568F-B88284E873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33963" y="3658529"/>
            <a:ext cx="3514137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30F6C226-C0F2-C859-023A-2ABCB73F834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681666" y="1103972"/>
            <a:ext cx="3514136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E3289F91-0417-11FA-F4A1-062F9AE5A55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81665" y="3659188"/>
            <a:ext cx="3514138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8123BDA-8858-4D79-A12F-D0912CDE670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73382" y="152204"/>
            <a:ext cx="849280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4" name="Grafik 24">
            <a:extLst>
              <a:ext uri="{FF2B5EF4-FFF2-40B4-BE49-F238E27FC236}">
                <a16:creationId xmlns:a16="http://schemas.microsoft.com/office/drawing/2014/main" id="{6CAAB031-D704-4651-932C-3C0BFCB378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F375AC7-1A85-4537-BCA5-A1ACE09281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3382" y="1787979"/>
            <a:ext cx="4388691" cy="3708695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04783011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2 imagees and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34DC214-DDFE-40F0-B000-4E1D725FAF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0573AD39-885A-AF69-7C6D-73F6C7BC074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33964" y="1103313"/>
            <a:ext cx="7158036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54ED6076-38C4-EBA5-568F-B88284E873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33963" y="3658529"/>
            <a:ext cx="7158036" cy="2481262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0" name="Titel 5">
            <a:extLst>
              <a:ext uri="{FF2B5EF4-FFF2-40B4-BE49-F238E27FC236}">
                <a16:creationId xmlns:a16="http://schemas.microsoft.com/office/drawing/2014/main" id="{AF09E1EC-3CA5-49B4-B854-8F965822942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73382" y="152204"/>
            <a:ext cx="849280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2" name="Grafik 24">
            <a:extLst>
              <a:ext uri="{FF2B5EF4-FFF2-40B4-BE49-F238E27FC236}">
                <a16:creationId xmlns:a16="http://schemas.microsoft.com/office/drawing/2014/main" id="{324A5D2C-E561-4E8E-8BAE-2BDA92145F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776B82A-959B-49AF-A337-A6C215A555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3382" y="1787979"/>
            <a:ext cx="4388691" cy="3708695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85686797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, 3 columns with image and tex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B883442-9897-453B-8144-A8B8727434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A157D282-FE73-FF78-FAE6-016D9A2FC5F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55613" y="1263649"/>
            <a:ext cx="3644734" cy="2160587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6" name="Bildplatzhalter 10">
            <a:extLst>
              <a:ext uri="{FF2B5EF4-FFF2-40B4-BE49-F238E27FC236}">
                <a16:creationId xmlns:a16="http://schemas.microsoft.com/office/drawing/2014/main" id="{7ACAAAA2-8AF0-7790-99A5-C2756C1862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75354" y="1268412"/>
            <a:ext cx="3644735" cy="2160587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17" name="Bildplatzhalter 10">
            <a:extLst>
              <a:ext uri="{FF2B5EF4-FFF2-40B4-BE49-F238E27FC236}">
                <a16:creationId xmlns:a16="http://schemas.microsoft.com/office/drawing/2014/main" id="{7B23BA98-0D2B-F254-EAF4-DEFD20B4314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91655" y="1263649"/>
            <a:ext cx="3644735" cy="2160587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D0AF36DB-A6E5-B63D-8610-5228B4CD19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3762" y="3497823"/>
            <a:ext cx="2706687" cy="24320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/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AT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8A27C447-CB40-391F-EB1F-8A1E68C0ECC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2656" y="3497823"/>
            <a:ext cx="2706687" cy="24320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/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4pPr>
            <a:lvl5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AT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AT" dirty="0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F3CCAAD-A1AD-181E-30CB-40180968CBF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00691" y="3497823"/>
            <a:ext cx="2706687" cy="24320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/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4pPr>
            <a:lvl5pPr marL="0" indent="0" algn="ctr" defTabSz="60801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AT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AT" dirty="0"/>
          </a:p>
        </p:txBody>
      </p:sp>
      <p:sp>
        <p:nvSpPr>
          <p:cNvPr id="18" name="Titel 5">
            <a:extLst>
              <a:ext uri="{FF2B5EF4-FFF2-40B4-BE49-F238E27FC236}">
                <a16:creationId xmlns:a16="http://schemas.microsoft.com/office/drawing/2014/main" id="{671578E0-6E39-4E1B-B876-183EECCCDA4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06C99617-2031-4E8E-AE51-BC452B8BB1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20" name="Grafik 24">
            <a:extLst>
              <a:ext uri="{FF2B5EF4-FFF2-40B4-BE49-F238E27FC236}">
                <a16:creationId xmlns:a16="http://schemas.microsoft.com/office/drawing/2014/main" id="{EFFAE4A2-B226-442D-9847-22A9B0B2D0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5705463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content and 3 image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3DF901-A92E-471B-88C7-BB97ACA204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A057A4B0-D5B5-7D08-5C08-55B7F155E6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441801" y="1078983"/>
            <a:ext cx="3749197" cy="1667133"/>
          </a:xfrm>
          <a:prstGeom prst="rect">
            <a:avLst/>
          </a:prstGeom>
        </p:spPr>
        <p:txBody>
          <a:bodyPr/>
          <a:lstStyle/>
          <a:p>
            <a:r>
              <a:rPr lang="sk-SK"/>
              <a:t>Kliknutím na ikonu pridáte obrázok</a:t>
            </a:r>
            <a:endParaRPr lang="de-DE"/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0D526DB2-7A4F-02B3-8E49-006B3245592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41801" y="2762704"/>
            <a:ext cx="3749197" cy="1669783"/>
          </a:xfrm>
          <a:prstGeom prst="rect">
            <a:avLst/>
          </a:prstGeom>
        </p:spPr>
        <p:txBody>
          <a:bodyPr/>
          <a:lstStyle/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8" name="Bildplatzhalter 9">
            <a:extLst>
              <a:ext uri="{FF2B5EF4-FFF2-40B4-BE49-F238E27FC236}">
                <a16:creationId xmlns:a16="http://schemas.microsoft.com/office/drawing/2014/main" id="{8DCEFCF5-6D3C-913B-5A41-E4E68A4036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42803" y="4445260"/>
            <a:ext cx="3749197" cy="1667863"/>
          </a:xfrm>
          <a:prstGeom prst="rect">
            <a:avLst/>
          </a:prstGeom>
        </p:spPr>
        <p:txBody>
          <a:bodyPr/>
          <a:lstStyle/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9F8E92A-8B30-4A46-BA90-3138279A5F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4952" y="1096420"/>
            <a:ext cx="7710342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AT" dirty="0"/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23258F38-2DB3-4835-80CD-BF7609F1495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4048DEB-824F-4DB8-A5CD-FA2311AFAE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16" name="Grafik 24">
            <a:extLst>
              <a:ext uri="{FF2B5EF4-FFF2-40B4-BE49-F238E27FC236}">
                <a16:creationId xmlns:a16="http://schemas.microsoft.com/office/drawing/2014/main" id="{274A198C-F516-4148-8B28-36FD2E0D81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4955216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2 columns and image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DEEAEF49-4680-49AA-B357-4A3C45A4F8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8EB442DA-6353-0E91-8174-6582EDA107F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81560" y="5408235"/>
            <a:ext cx="1800225" cy="4456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179387" indent="0">
              <a:buNone/>
              <a:defRPr/>
            </a:lvl4pPr>
            <a:lvl5pPr marL="215900" indent="0">
              <a:buNone/>
              <a:defRPr/>
            </a:lvl5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6EBA5565-0DE6-666E-022B-52777BEAD26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38925" y="5411745"/>
            <a:ext cx="1800225" cy="4456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179387" indent="0">
              <a:buNone/>
              <a:defRPr/>
            </a:lvl4pPr>
            <a:lvl5pPr marL="215900" indent="0">
              <a:buNone/>
              <a:defRPr/>
            </a:lvl5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D9F2B379-1DFE-38B5-7E12-82C63169122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01200" y="5411745"/>
            <a:ext cx="1800225" cy="4456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179387" indent="0">
              <a:buNone/>
              <a:defRPr/>
            </a:lvl4pPr>
            <a:lvl5pPr marL="215900" indent="0">
              <a:buNone/>
              <a:defRPr/>
            </a:lvl5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D1AF654-C8E9-B035-C0AD-CEBD29D85D5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9600" y="5401729"/>
            <a:ext cx="1800225" cy="4456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179387" indent="0">
              <a:buNone/>
              <a:defRPr/>
            </a:lvl4pPr>
            <a:lvl5pPr marL="215900" indent="0">
              <a:buNone/>
              <a:defRPr/>
            </a:lvl5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B1A4221B-EE43-BA7F-9454-DE4A7309512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093128" y="3839005"/>
            <a:ext cx="2881010" cy="144000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9975D998-295F-83B4-89AD-3D172002FC6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74138" y="3839005"/>
            <a:ext cx="2822910" cy="144000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9D9FB68-E4CC-E152-9C49-1CCC4CE697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53570"/>
            <a:ext cx="5701048" cy="2534852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7305709-B0E4-FD6D-57A4-04F95797DB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153570"/>
            <a:ext cx="5701048" cy="2534852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600" kern="1200" dirty="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2D697B99-B97A-8C79-C231-BDF9EA50FBB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89208" y="3836863"/>
            <a:ext cx="2881010" cy="1440000"/>
          </a:xfrm>
        </p:spPr>
        <p:txBody>
          <a:bodyPr/>
          <a:lstStyle>
            <a:lvl1pPr algn="l">
              <a:defRPr/>
            </a:lvl1pPr>
          </a:lstStyle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58DF87F1-8253-EE13-6E5D-E3C9592A73DC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270218" y="3836863"/>
            <a:ext cx="2822910" cy="144000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DE" dirty="0"/>
          </a:p>
        </p:txBody>
      </p:sp>
      <p:sp>
        <p:nvSpPr>
          <p:cNvPr id="18" name="Titel 5">
            <a:extLst>
              <a:ext uri="{FF2B5EF4-FFF2-40B4-BE49-F238E27FC236}">
                <a16:creationId xmlns:a16="http://schemas.microsoft.com/office/drawing/2014/main" id="{78573D45-98B4-48CD-AF9C-8A9805D0C7C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44D1CAED-0072-4714-9BAF-144D81B9DE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27" name="Grafik 24">
            <a:extLst>
              <a:ext uri="{FF2B5EF4-FFF2-40B4-BE49-F238E27FC236}">
                <a16:creationId xmlns:a16="http://schemas.microsoft.com/office/drawing/2014/main" id="{6866BD48-8C05-4CDF-948B-E11B476E18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6137005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A9066192-4D2D-0434-224F-DBCD60F81E5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74738"/>
            <a:ext cx="12192000" cy="5068887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1BA477A8-3E90-4551-B606-DB2C8B13112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84D4A23F-E3AB-41A3-BE7E-26C4C00307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8A581DFF-BA4C-4007-94D8-D5B5B3A521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174974"/>
      </p:ext>
    </p:extLst>
  </p:cSld>
  <p:clrMapOvr>
    <a:masterClrMapping/>
  </p:clrMapOvr>
  <p:transition advClick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full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2">
            <a:extLst>
              <a:ext uri="{FF2B5EF4-FFF2-40B4-BE49-F238E27FC236}">
                <a16:creationId xmlns:a16="http://schemas.microsoft.com/office/drawing/2014/main" id="{591A74DC-0AF6-A18A-8BE3-27E117030A6C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1074738"/>
            <a:ext cx="12192000" cy="5068887"/>
          </a:xfrm>
        </p:spPr>
        <p:txBody>
          <a:bodyPr/>
          <a:lstStyle/>
          <a:p>
            <a:r>
              <a:rPr lang="sk-SK"/>
              <a:t>Ak chcete pridať mediálny prvok, kliknite na ikonu</a:t>
            </a:r>
            <a:endParaRPr lang="de-AT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9325036-FA60-40E4-B409-E7688C68345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455612" y="152204"/>
            <a:ext cx="841057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60390C7A-1826-4C0B-91C9-26E9D7C03A0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4B678D72-0E51-43EE-BA98-11269D3CCBE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706308"/>
      </p:ext>
    </p:extLst>
  </p:cSld>
  <p:clrMapOvr>
    <a:masterClrMapping/>
  </p:clrMapOvr>
  <p:transition advClick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11700952-2060-2D32-2642-F7C215FAD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6000" y="152204"/>
            <a:ext cx="7983537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522835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char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7FD1DACC-2848-EE76-32ED-BF55FA8892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617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1" imgH="91" progId="TCLayout.ActiveDocument.1">
                  <p:embed/>
                </p:oleObj>
              </mc:Choice>
              <mc:Fallback>
                <p:oleObj name="think-cell Slide" r:id="rId3" imgW="91" imgH="9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7FD1DACC-2848-EE76-32ED-BF55FA889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Grafik 28" descr="Ein Bild, das draußen, Gras, Himmel, Landschaft enthält.&#10;&#10;Automatisch generierte Beschreibung">
            <a:extLst>
              <a:ext uri="{FF2B5EF4-FFF2-40B4-BE49-F238E27FC236}">
                <a16:creationId xmlns:a16="http://schemas.microsoft.com/office/drawing/2014/main" id="{378B3D35-6C23-DFCC-5070-B8AEFD19485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069450"/>
            <a:ext cx="12193449" cy="5071656"/>
          </a:xfrm>
          <a:prstGeom prst="rect">
            <a:avLst/>
          </a:prstGeom>
        </p:spPr>
      </p:pic>
      <p:pic>
        <p:nvPicPr>
          <p:cNvPr id="20" name="Grafik 19" descr="Ein Bild, das Pflanze, Baum, draußen, Ulmen enthält.&#10;&#10;Automatisch generierte Beschreibung">
            <a:extLst>
              <a:ext uri="{FF2B5EF4-FFF2-40B4-BE49-F238E27FC236}">
                <a16:creationId xmlns:a16="http://schemas.microsoft.com/office/drawing/2014/main" id="{918FCF83-5714-448B-D337-D218E9161C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9066" y="1302190"/>
            <a:ext cx="4171414" cy="4084283"/>
          </a:xfrm>
          <a:prstGeom prst="rect">
            <a:avLst/>
          </a:prstGeom>
        </p:spPr>
      </p:pic>
      <p:sp>
        <p:nvSpPr>
          <p:cNvPr id="21" name="Titel 16">
            <a:extLst>
              <a:ext uri="{FF2B5EF4-FFF2-40B4-BE49-F238E27FC236}">
                <a16:creationId xmlns:a16="http://schemas.microsoft.com/office/drawing/2014/main" id="{0F9A83FD-97C0-DC56-4863-09618D15F41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788247" y="2197864"/>
            <a:ext cx="5313849" cy="1077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90000" algn="l" defTabSz="608013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 sz="3600" b="1" kern="120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algn="l" defTabSz="608013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  <a:cs typeface="Arial" panose="020B0604020202020204" pitchFamily="34" charset="0"/>
              </a:defRPr>
            </a:lvl2pPr>
            <a:lvl3pPr algn="l" defTabSz="608013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  <a:cs typeface="Arial" panose="020B0604020202020204" pitchFamily="34" charset="0"/>
              </a:defRPr>
            </a:lvl3pPr>
            <a:lvl4pPr algn="l" defTabSz="608013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  <a:cs typeface="Arial" panose="020B0604020202020204" pitchFamily="34" charset="0"/>
              </a:defRPr>
            </a:lvl4pPr>
            <a:lvl5pPr algn="l" defTabSz="608013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17475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  <a:cs typeface="Arial" panose="020B0604020202020204" pitchFamily="34" charset="0"/>
              </a:defRPr>
            </a:lvl5pPr>
            <a:lvl6pPr marL="609585" algn="l" defTabSz="609585" rtl="0" fontAlgn="base">
              <a:spcBef>
                <a:spcPct val="0"/>
              </a:spcBef>
              <a:spcAft>
                <a:spcPct val="0"/>
              </a:spcAft>
              <a:tabLst>
                <a:tab pos="118530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6pPr>
            <a:lvl7pPr marL="1219170" algn="l" defTabSz="609585" rtl="0" fontAlgn="base">
              <a:spcBef>
                <a:spcPct val="0"/>
              </a:spcBef>
              <a:spcAft>
                <a:spcPct val="0"/>
              </a:spcAft>
              <a:tabLst>
                <a:tab pos="118530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7pPr>
            <a:lvl8pPr marL="1828754" algn="l" defTabSz="609585" rtl="0" fontAlgn="base">
              <a:spcBef>
                <a:spcPct val="0"/>
              </a:spcBef>
              <a:spcAft>
                <a:spcPct val="0"/>
              </a:spcAft>
              <a:tabLst>
                <a:tab pos="118530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8pPr>
            <a:lvl9pPr marL="2438339" algn="l" defTabSz="609585" rtl="0" fontAlgn="base">
              <a:spcBef>
                <a:spcPct val="0"/>
              </a:spcBef>
              <a:spcAft>
                <a:spcPct val="0"/>
              </a:spcAft>
              <a:tabLst>
                <a:tab pos="118530" algn="l"/>
              </a:tabLst>
              <a:defRPr sz="32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de-AT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7315885-0484-E2B2-CF9A-E6F5673C14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8247" y="1656105"/>
            <a:ext cx="5313849" cy="5226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7CFE3C6-B0F0-7A93-2EAD-DAD130EFBF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8247" y="3291600"/>
            <a:ext cx="5313849" cy="379412"/>
          </a:xfrm>
        </p:spPr>
        <p:txBody>
          <a:bodyPr/>
          <a:lstStyle>
            <a:lvl1pPr marL="0" indent="0">
              <a:defRPr sz="18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32" name="Titel 16">
            <a:extLst>
              <a:ext uri="{FF2B5EF4-FFF2-40B4-BE49-F238E27FC236}">
                <a16:creationId xmlns:a16="http://schemas.microsoft.com/office/drawing/2014/main" id="{6BA4C075-DF39-E87F-9A39-C43BCCD31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151" y="2191768"/>
            <a:ext cx="5313849" cy="1077905"/>
          </a:xfrm>
        </p:spPr>
        <p:txBody>
          <a:bodyPr anchor="t"/>
          <a:lstStyle>
            <a:lvl1pPr marL="90000">
              <a:defRPr sz="3600" b="1"/>
            </a:lvl1pPr>
          </a:lstStyle>
          <a:p>
            <a:r>
              <a:rPr lang="sk-SK"/>
              <a:t>Kliknutím upravte štýl predlohy nadpisu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66360246"/>
      </p:ext>
    </p:extLst>
  </p:cSld>
  <p:clrMapOvr>
    <a:masterClrMapping/>
  </p:clrMapOvr>
  <p:transition advClick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11700952-2060-2D32-2642-F7C215FAD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6000" y="152204"/>
            <a:ext cx="7983537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989014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itel 5">
            <a:extLst>
              <a:ext uri="{FF2B5EF4-FFF2-40B4-BE49-F238E27FC236}">
                <a16:creationId xmlns:a16="http://schemas.microsoft.com/office/drawing/2014/main" id="{991FE6FD-8F37-411F-B008-274B5F9AE47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B5E7ED4C-3E6A-4E26-B6D6-B6D6BB29D1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94016743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chart, Bran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" hidden="1">
            <a:extLst>
              <a:ext uri="{FF2B5EF4-FFF2-40B4-BE49-F238E27FC236}">
                <a16:creationId xmlns:a16="http://schemas.microsoft.com/office/drawing/2014/main" id="{90EB091E-2A5C-55D1-68BB-005DC5A20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808499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4" name="Objekt 8" hidden="1">
                        <a:extLst>
                          <a:ext uri="{FF2B5EF4-FFF2-40B4-BE49-F238E27FC236}">
                            <a16:creationId xmlns:a16="http://schemas.microsoft.com/office/drawing/2014/main" id="{90EB091E-2A5C-55D1-68BB-005DC5A20C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72B0EB31-38D6-E208-543A-AEE49C3A57DB}"/>
              </a:ext>
            </a:extLst>
          </p:cNvPr>
          <p:cNvSpPr/>
          <p:nvPr userDrawn="1"/>
        </p:nvSpPr>
        <p:spPr>
          <a:xfrm>
            <a:off x="0" y="0"/>
            <a:ext cx="12192000" cy="120015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pic>
        <p:nvPicPr>
          <p:cNvPr id="9" name="Grafik 24">
            <a:extLst>
              <a:ext uri="{FF2B5EF4-FFF2-40B4-BE49-F238E27FC236}">
                <a16:creationId xmlns:a16="http://schemas.microsoft.com/office/drawing/2014/main" id="{1958507E-3EDB-4CFC-9D97-E5B105E3C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9E6166D4-F9E4-4D9E-9BA1-5CF3763941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88EB55C0-5C99-451E-99F3-44205F2E455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7793425"/>
      </p:ext>
    </p:extLst>
  </p:cSld>
  <p:clrMapOvr>
    <a:masterClrMapping/>
  </p:clrMapOvr>
  <p:transition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" descr="Ein Bild, das draußen, Himmel, Gras, Landschaft enthält.&#10;&#10;Automatisch generierte Beschreibung">
            <a:extLst>
              <a:ext uri="{FF2B5EF4-FFF2-40B4-BE49-F238E27FC236}">
                <a16:creationId xmlns:a16="http://schemas.microsoft.com/office/drawing/2014/main" id="{2D714C0C-256B-4829-B873-51DF76245F8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9" y="1069450"/>
            <a:ext cx="12193449" cy="5068409"/>
          </a:xfrm>
          <a:prstGeom prst="rect">
            <a:avLst/>
          </a:prstGeom>
        </p:spPr>
      </p:pic>
      <p:graphicFrame>
        <p:nvGraphicFramePr>
          <p:cNvPr id="4" name="Objekt 8" hidden="1">
            <a:extLst>
              <a:ext uri="{FF2B5EF4-FFF2-40B4-BE49-F238E27FC236}">
                <a16:creationId xmlns:a16="http://schemas.microsoft.com/office/drawing/2014/main" id="{90EB091E-2A5C-55D1-68BB-005DC5A20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808499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kt 8" hidden="1">
                        <a:extLst>
                          <a:ext uri="{FF2B5EF4-FFF2-40B4-BE49-F238E27FC236}">
                            <a16:creationId xmlns:a16="http://schemas.microsoft.com/office/drawing/2014/main" id="{90EB091E-2A5C-55D1-68BB-005DC5A20C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72B0EB31-38D6-E208-543A-AEE49C3A57DB}"/>
              </a:ext>
            </a:extLst>
          </p:cNvPr>
          <p:cNvSpPr/>
          <p:nvPr userDrawn="1"/>
        </p:nvSpPr>
        <p:spPr>
          <a:xfrm>
            <a:off x="0" y="0"/>
            <a:ext cx="12192000" cy="120015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pic>
        <p:nvPicPr>
          <p:cNvPr id="9" name="Grafik 24">
            <a:extLst>
              <a:ext uri="{FF2B5EF4-FFF2-40B4-BE49-F238E27FC236}">
                <a16:creationId xmlns:a16="http://schemas.microsoft.com/office/drawing/2014/main" id="{1958507E-3EDB-4CFC-9D97-E5B105E3C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EB09350B-6C99-4D2A-BDA5-4AABCF8CC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7ACFB858-9D55-4077-8075-F512ACDBF6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13" name="Picture 12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6458717F-4033-46D8-BF5A-58CC239CB2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88" y="1200151"/>
            <a:ext cx="7099953" cy="302809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074DE4-8E57-44E9-9219-45F623919B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4188" y="4419600"/>
            <a:ext cx="6016625" cy="1546225"/>
          </a:xfrm>
        </p:spPr>
        <p:txBody>
          <a:bodyPr/>
          <a:lstStyle>
            <a:lvl1pPr marL="0" indent="0">
              <a:spcAft>
                <a:spcPts val="0"/>
              </a:spcAft>
              <a:defRPr sz="1400" b="1"/>
            </a:lvl1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451065133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with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2A6B8D4-96DB-48FC-A45A-A31F398E9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2A8B2908-E94B-49D6-939F-87B8B598956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6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Disclaimer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9318F3EE-38A6-4476-9148-0318B8AF10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8600713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chart C -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21">
            <a:extLst>
              <a:ext uri="{FF2B5EF4-FFF2-40B4-BE49-F238E27FC236}">
                <a16:creationId xmlns:a16="http://schemas.microsoft.com/office/drawing/2014/main" id="{361403B6-FACA-5EA9-D7C0-916B7CFC54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D757BC97-9B91-98A8-F80E-8ED05CA9970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/>
          </p:nvPr>
        </p:nvSpPr>
        <p:spPr>
          <a:xfrm>
            <a:off x="0" y="1089025"/>
            <a:ext cx="12192000" cy="5029200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 dirty="0"/>
          </a:p>
        </p:txBody>
      </p:sp>
      <p:sp>
        <p:nvSpPr>
          <p:cNvPr id="19" name="Titel 16">
            <a:extLst>
              <a:ext uri="{FF2B5EF4-FFF2-40B4-BE49-F238E27FC236}">
                <a16:creationId xmlns:a16="http://schemas.microsoft.com/office/drawing/2014/main" id="{3A91E640-9E3D-FA4C-4DE9-50FD11E45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151" y="2191768"/>
            <a:ext cx="5313849" cy="1077905"/>
          </a:xfrm>
        </p:spPr>
        <p:txBody>
          <a:bodyPr anchor="t"/>
          <a:lstStyle>
            <a:lvl1pPr marL="90000">
              <a:defRPr sz="3600" b="1"/>
            </a:lvl1pPr>
          </a:lstStyle>
          <a:p>
            <a:r>
              <a:rPr lang="sk-SK"/>
              <a:t>Kliknutím upravte štýl predlohy nadpisu</a:t>
            </a:r>
            <a:endParaRPr lang="de-AT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B5508AF-19F5-519E-DB0A-EC13BA7C34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2151" y="3285504"/>
            <a:ext cx="5313849" cy="379412"/>
          </a:xfrm>
        </p:spPr>
        <p:txBody>
          <a:bodyPr/>
          <a:lstStyle>
            <a:lvl1pPr marL="0" indent="0">
              <a:defRPr sz="18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A368C99F-3717-A7E7-15CE-BD20597A82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2151" y="1659634"/>
            <a:ext cx="5313849" cy="5226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pic>
        <p:nvPicPr>
          <p:cNvPr id="8" name="Grafik 24">
            <a:extLst>
              <a:ext uri="{FF2B5EF4-FFF2-40B4-BE49-F238E27FC236}">
                <a16:creationId xmlns:a16="http://schemas.microsoft.com/office/drawing/2014/main" id="{BF855537-A7D6-42D7-A20B-F983F59B4A4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2945568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3" descr="Ein Bild, das draußen, Himmel, Gras, Landschaft enthält.&#10;&#10;Automatisch generierte Beschreibung">
            <a:extLst>
              <a:ext uri="{FF2B5EF4-FFF2-40B4-BE49-F238E27FC236}">
                <a16:creationId xmlns:a16="http://schemas.microsoft.com/office/drawing/2014/main" id="{B208337A-3C51-40FD-B4C0-BBE5969CDE4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9" y="1069450"/>
            <a:ext cx="12193449" cy="5068409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A92B403-0AA8-95F5-AECD-23C83768DF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265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1" imgH="91" progId="TCLayout.ActiveDocument.1">
                  <p:embed/>
                </p:oleObj>
              </mc:Choice>
              <mc:Fallback>
                <p:oleObj name="think-cell Slide" r:id="rId4" imgW="91" imgH="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A92B403-0AA8-95F5-AECD-23C83768D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078637C-6B43-02FE-DCC4-D8A2EAAE9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449" y="1538288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1</a:t>
            </a:r>
            <a:endParaRPr lang="de-AT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DA32C52-04D1-8A16-41C5-54F2DB295D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449" y="2291726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2</a:t>
            </a:r>
            <a:endParaRPr lang="de-AT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D1DCAADE-1980-930E-3031-6CE276B47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449" y="3045164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3</a:t>
            </a:r>
            <a:endParaRPr lang="de-AT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62C45078-CFB2-0E59-2664-426EFE694C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449" y="3798602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4</a:t>
            </a:r>
            <a:endParaRPr lang="de-AT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01F51734-8542-905A-3B1B-092A15179B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49" y="4552040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5</a:t>
            </a:r>
            <a:endParaRPr lang="de-AT" dirty="0"/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49713654-60D9-B07E-8E11-07A5DDD34E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449" y="5305478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opic</a:t>
            </a:r>
            <a:r>
              <a:rPr lang="de-DE" dirty="0"/>
              <a:t> 6</a:t>
            </a:r>
            <a:endParaRPr lang="de-AT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49552C44-5BAB-4FA0-9492-F49592690E7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Click to add Agenda titl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47104976-011C-43FA-9ADC-3066333C9F2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EE8F9655-878E-4DAA-8905-5490390D14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8276270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A92B403-0AA8-95F5-AECD-23C83768DF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265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1" imgH="91" progId="TCLayout.ActiveDocument.1">
                  <p:embed/>
                </p:oleObj>
              </mc:Choice>
              <mc:Fallback>
                <p:oleObj name="think-cell Slide" r:id="rId3" imgW="91" imgH="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A92B403-0AA8-95F5-AECD-23C83768D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draußen, Himmel, Gras, Landschaft enthält.&#10;&#10;Automatisch generierte Beschreibung">
            <a:extLst>
              <a:ext uri="{FF2B5EF4-FFF2-40B4-BE49-F238E27FC236}">
                <a16:creationId xmlns:a16="http://schemas.microsoft.com/office/drawing/2014/main" id="{370FD0BD-A781-66D5-7B6F-F15925DA13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9" y="1069450"/>
            <a:ext cx="12193449" cy="5068409"/>
          </a:xfrm>
          <a:prstGeom prst="rect">
            <a:avLst/>
          </a:prstGeom>
        </p:spPr>
      </p:pic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078637C-6B43-02FE-DCC4-D8A2EAAE9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449" y="1538288"/>
            <a:ext cx="6561906" cy="693737"/>
          </a:xfrm>
          <a:solidFill>
            <a:srgbClr val="A7AEC5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DA32C52-04D1-8A16-41C5-54F2DB295D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449" y="2291726"/>
            <a:ext cx="6561906" cy="693737"/>
          </a:xfrm>
          <a:solidFill>
            <a:srgbClr val="22356E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D1DCAADE-1980-930E-3031-6CE276B47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449" y="3045164"/>
            <a:ext cx="6561906" cy="693737"/>
          </a:xfrm>
          <a:solidFill>
            <a:srgbClr val="A7AEC5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62C45078-CFB2-0E59-2664-426EFE694C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449" y="3798602"/>
            <a:ext cx="6561906" cy="693737"/>
          </a:xfrm>
          <a:solidFill>
            <a:srgbClr val="A7AEC5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01F51734-8542-905A-3B1B-092A15179B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49" y="4552040"/>
            <a:ext cx="6561906" cy="693737"/>
          </a:xfrm>
          <a:solidFill>
            <a:srgbClr val="A7AEC5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49713654-60D9-B07E-8E11-07A5DDD34E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449" y="5305478"/>
            <a:ext cx="6561906" cy="693737"/>
          </a:xfrm>
          <a:solidFill>
            <a:srgbClr val="A7AEC5"/>
          </a:solidFill>
        </p:spPr>
        <p:txBody>
          <a:bodyPr anchor="ctr"/>
          <a:lstStyle>
            <a:lvl1pPr marL="360000" indent="0"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AT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BA984E01-F800-41A6-918B-84C50CC0D73F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Click to add Agenda titl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8C9D2470-73BC-40B8-AF56-8B0A1CE5CAD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9280A713-D941-466E-B8F1-179EDBA099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66188" y="6596063"/>
            <a:ext cx="2844800" cy="123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2023348"/>
      </p:ext>
    </p:extLst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8A54BEB-6FF1-3DCC-9A33-4F4B5EABC1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21536" y="2460713"/>
            <a:ext cx="3600450" cy="1253395"/>
          </a:xfrm>
        </p:spPr>
        <p:txBody>
          <a:bodyPr/>
          <a:lstStyle>
            <a:lvl1pPr marL="0" indent="0">
              <a:spcAft>
                <a:spcPts val="0"/>
              </a:spcAft>
              <a:defRPr sz="4000" b="1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50483C6-535E-C4AD-6A81-DDD61B24B8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21536" y="3726345"/>
            <a:ext cx="3600450" cy="892357"/>
          </a:xfrm>
        </p:spPr>
        <p:txBody>
          <a:bodyPr/>
          <a:lstStyle>
            <a:lvl1pPr marL="0" indent="0">
              <a:spcAft>
                <a:spcPts val="0"/>
              </a:spcAft>
              <a:defRPr sz="2400" b="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85B6ECA1-44CC-D204-7EA3-1E4477B1BF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21536" y="4771823"/>
            <a:ext cx="3600450" cy="892357"/>
          </a:xfrm>
        </p:spPr>
        <p:txBody>
          <a:bodyPr/>
          <a:lstStyle>
            <a:lvl1pPr marL="0" indent="0">
              <a:spcAft>
                <a:spcPts val="0"/>
              </a:spcAft>
              <a:defRPr sz="1400" b="0"/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20" name="Bildplatzhalter 18">
            <a:extLst>
              <a:ext uri="{FF2B5EF4-FFF2-40B4-BE49-F238E27FC236}">
                <a16:creationId xmlns:a16="http://schemas.microsoft.com/office/drawing/2014/main" id="{7A7FA0C5-FC6D-2BE1-5737-82BAF9ACF9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84263"/>
            <a:ext cx="7056438" cy="5026025"/>
          </a:xfrm>
        </p:spPr>
        <p:txBody>
          <a:bodyPr/>
          <a:lstStyle/>
          <a:p>
            <a:r>
              <a:rPr lang="sk-SK"/>
              <a:t>Kliknutím na ikonu pridáte obrázok</a:t>
            </a:r>
            <a:endParaRPr lang="de-AT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E5C65D5E-A3A6-4CAF-A6B9-C74580A5BD4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848765"/>
          </a:xfrm>
        </p:spPr>
        <p:txBody>
          <a:bodyPr anchor="ctr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23E90B23-0DF8-42D8-8840-3401099135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</p:spTree>
    <p:extLst>
      <p:ext uri="{BB962C8B-B14F-4D97-AF65-F5344CB8AC3E}">
        <p14:creationId xmlns:p14="http://schemas.microsoft.com/office/powerpoint/2010/main" val="1793528044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9018410-2A65-4DD8-A1E1-987E484164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9622800-CCC0-4469-95A5-D68056FA46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5011738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0098B413-95B5-460B-8392-A714672C6BD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FC1255F6-4E2C-442F-B890-37B564E99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BD73FD79-E009-4747-BB8F-6857E42E56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1355736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- &amp; Subline with content and key messag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E5C9707A-C8E7-4273-AA9A-D225B6C3A6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FA0FBF9-0B64-E6F2-64E1-DD28CD036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4188" y="6596420"/>
            <a:ext cx="7954962" cy="123111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CB18971-5D8F-415E-192A-08D2C97446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AF5647-5DDF-F144-B773-BD51F81144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9622800-CCC0-4469-95A5-D68056FA46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952" y="1105945"/>
            <a:ext cx="11316036" cy="4095642"/>
          </a:xfrm>
        </p:spPr>
        <p:txBody>
          <a:bodyPr/>
          <a:lstStyle>
            <a:lvl1pPr marL="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72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/>
            </a:lvl2pPr>
            <a:lvl3pPr marL="108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144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 marL="1800000" indent="-28800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0098B413-95B5-460B-8392-A714672C6BD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>
          <a:xfrm>
            <a:off x="394952" y="152204"/>
            <a:ext cx="8471235" cy="423147"/>
          </a:xfrm>
        </p:spPr>
        <p:txBody>
          <a:bodyPr anchor="t"/>
          <a:lstStyle>
            <a:lvl1pPr marL="90000">
              <a:defRPr/>
            </a:lvl1pPr>
          </a:lstStyle>
          <a:p>
            <a:r>
              <a:rPr lang="en-US" altLang="de-DE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dline</a:t>
            </a:r>
            <a:endParaRPr lang="en-US" altLang="de-DE" sz="20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FC1255F6-4E2C-442F-B890-37B564E99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952" y="587350"/>
            <a:ext cx="8471235" cy="42314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 err="1"/>
              <a:t>Subline</a:t>
            </a:r>
            <a:endParaRPr lang="de-AT" dirty="0"/>
          </a:p>
        </p:txBody>
      </p:sp>
      <p:pic>
        <p:nvPicPr>
          <p:cNvPr id="10" name="Grafik 24">
            <a:extLst>
              <a:ext uri="{FF2B5EF4-FFF2-40B4-BE49-F238E27FC236}">
                <a16:creationId xmlns:a16="http://schemas.microsoft.com/office/drawing/2014/main" id="{BD73FD79-E009-4747-BB8F-6857E42E56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91982"/>
            <a:ext cx="2711059" cy="57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A1DD0B4-BEFD-4D9A-A3E1-491AE20D12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6325" y="5274615"/>
            <a:ext cx="10634663" cy="841375"/>
          </a:xfrm>
        </p:spPr>
        <p:txBody>
          <a:bodyPr anchor="ctr"/>
          <a:lstStyle>
            <a:lvl1pPr marL="0" indent="0">
              <a:defRPr sz="2400" b="1"/>
            </a:lvl1pPr>
          </a:lstStyle>
          <a:p>
            <a:pPr lvl="0"/>
            <a:r>
              <a:rPr lang="en-US" dirty="0"/>
              <a:t>Click to add key message</a:t>
            </a:r>
          </a:p>
        </p:txBody>
      </p:sp>
    </p:spTree>
    <p:extLst>
      <p:ext uri="{BB962C8B-B14F-4D97-AF65-F5344CB8AC3E}">
        <p14:creationId xmlns:p14="http://schemas.microsoft.com/office/powerpoint/2010/main" val="2943225146"/>
      </p:ext>
    </p:extLst>
  </p:cSld>
  <p:clrMapOvr>
    <a:masterClrMapping/>
  </p:clrMapOvr>
  <p:transition advClick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3" hidden="1">
            <a:extLst>
              <a:ext uri="{FF2B5EF4-FFF2-40B4-BE49-F238E27FC236}">
                <a16:creationId xmlns:a16="http://schemas.microsoft.com/office/drawing/2014/main" id="{E9D1B2DC-355D-D34D-9269-1E9912A206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40990849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8100" imgH="38100" progId="TCLayout.ActiveDocument.1">
                  <p:embed/>
                </p:oleObj>
              </mc:Choice>
              <mc:Fallback>
                <p:oleObj name="think-cell Slide" r:id="rId38" imgW="38100" imgH="38100" progId="TCLayout.ActiveDocument.1">
                  <p:embed/>
                  <p:pic>
                    <p:nvPicPr>
                      <p:cNvPr id="3074" name="Objekt 3" hidden="1">
                        <a:extLst>
                          <a:ext uri="{FF2B5EF4-FFF2-40B4-BE49-F238E27FC236}">
                            <a16:creationId xmlns:a16="http://schemas.microsoft.com/office/drawing/2014/main" id="{E9D1B2DC-355D-D34D-9269-1E9912A206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989696-EC3C-9B5A-FB89-DF07D078C8D4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AT" sz="3200"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E698CDE-0204-4186-DE29-DE8764FC12CF}"/>
              </a:ext>
            </a:extLst>
          </p:cNvPr>
          <p:cNvSpPr/>
          <p:nvPr userDrawn="1"/>
        </p:nvSpPr>
        <p:spPr>
          <a:xfrm>
            <a:off x="0" y="0"/>
            <a:ext cx="12192000" cy="120015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3077" name="Titelplatzhalter 1">
            <a:extLst>
              <a:ext uri="{FF2B5EF4-FFF2-40B4-BE49-F238E27FC236}">
                <a16:creationId xmlns:a16="http://schemas.microsoft.com/office/drawing/2014/main" id="{D8B75C51-F7F9-361A-4418-2A69B84DD83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4188" y="246063"/>
            <a:ext cx="74834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de-DE" dirty="0"/>
              <a:t>Mastertitelformat bearbeiten</a:t>
            </a:r>
            <a:endParaRPr lang="de-DE" alt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BD3C9F9-E67A-D637-3321-A9CEB43C71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6188" y="6596063"/>
            <a:ext cx="2844800" cy="123825"/>
          </a:xfrm>
          <a:prstGeom prst="rect">
            <a:avLst/>
          </a:prstGeom>
          <a:noFill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rgbClr val="002A64"/>
                </a:solidFill>
                <a:latin typeface="+mn-lt"/>
              </a:defRPr>
            </a:lvl1pPr>
          </a:lstStyle>
          <a:p>
            <a:pPr>
              <a:defRPr/>
            </a:pPr>
            <a:fld id="{C8FA3D91-5A87-494C-9268-BAF8EC563AE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1B345-C678-5A85-D004-CA35FD3FD7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4188" y="6596063"/>
            <a:ext cx="7954962" cy="12382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© Miba AG</a:t>
            </a:r>
          </a:p>
        </p:txBody>
      </p:sp>
      <p:sp>
        <p:nvSpPr>
          <p:cNvPr id="1032" name="Textplatzhalter 5">
            <a:extLst>
              <a:ext uri="{FF2B5EF4-FFF2-40B4-BE49-F238E27FC236}">
                <a16:creationId xmlns:a16="http://schemas.microsoft.com/office/drawing/2014/main" id="{77A596D9-18E4-E1D8-0282-4F302804647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84188" y="1536700"/>
            <a:ext cx="11226800" cy="483870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2"/>
            <a:r>
              <a:rPr lang="de-DE" altLang="de-DE" dirty="0"/>
              <a:t>Erste Ebene</a:t>
            </a:r>
          </a:p>
          <a:p>
            <a:pPr lvl="3"/>
            <a:r>
              <a:rPr lang="de-DE" altLang="de-DE" dirty="0"/>
              <a:t>Zweite Ebene</a:t>
            </a:r>
          </a:p>
          <a:p>
            <a:pPr lvl="4"/>
            <a:r>
              <a:rPr lang="de-DE" altLang="de-DE" dirty="0"/>
              <a:t>Dritte Ebene</a:t>
            </a:r>
          </a:p>
          <a:p>
            <a:pPr lvl="5"/>
            <a:r>
              <a:rPr lang="de-DE" altLang="de-DE" dirty="0"/>
              <a:t>Vierte Ebene</a:t>
            </a:r>
          </a:p>
          <a:p>
            <a:pPr lvl="5"/>
            <a:endParaRPr lang="de-DE" altLang="de-DE" dirty="0"/>
          </a:p>
        </p:txBody>
      </p:sp>
      <p:pic>
        <p:nvPicPr>
          <p:cNvPr id="6" name="Grafik 24">
            <a:extLst>
              <a:ext uri="{FF2B5EF4-FFF2-40B4-BE49-F238E27FC236}">
                <a16:creationId xmlns:a16="http://schemas.microsoft.com/office/drawing/2014/main" id="{E86AD96E-FF52-762B-6894-ED47BD0ADD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1883" y="265088"/>
            <a:ext cx="2711059" cy="576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BlokTextu 7">
            <a:extLst>
              <a:ext uri="{FF2B5EF4-FFF2-40B4-BE49-F238E27FC236}">
                <a16:creationId xmlns:a16="http://schemas.microsoft.com/office/drawing/2014/main" id="{04C54D66-3D86-83E1-C537-0E7C389E12A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17337" y="6672580"/>
            <a:ext cx="9794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k-SK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sitivity: Miba Publ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66" r:id="rId2"/>
    <p:sldLayoutId id="2147483750" r:id="rId3"/>
    <p:sldLayoutId id="2147483739" r:id="rId4"/>
    <p:sldLayoutId id="2147483763" r:id="rId5"/>
    <p:sldLayoutId id="2147483730" r:id="rId6"/>
    <p:sldLayoutId id="2147483731" r:id="rId7"/>
    <p:sldLayoutId id="2147483742" r:id="rId8"/>
    <p:sldLayoutId id="2147483761" r:id="rId9"/>
    <p:sldLayoutId id="2147483754" r:id="rId10"/>
    <p:sldLayoutId id="2147483734" r:id="rId11"/>
    <p:sldLayoutId id="2147483762" r:id="rId12"/>
    <p:sldLayoutId id="2147483751" r:id="rId13"/>
    <p:sldLayoutId id="2147483740" r:id="rId14"/>
    <p:sldLayoutId id="2147483759" r:id="rId15"/>
    <p:sldLayoutId id="2147483755" r:id="rId16"/>
    <p:sldLayoutId id="2147483741" r:id="rId17"/>
    <p:sldLayoutId id="2147483760" r:id="rId18"/>
    <p:sldLayoutId id="2147483756" r:id="rId19"/>
    <p:sldLayoutId id="2147483735" r:id="rId20"/>
    <p:sldLayoutId id="2147483748" r:id="rId21"/>
    <p:sldLayoutId id="2147483736" r:id="rId22"/>
    <p:sldLayoutId id="2147483737" r:id="rId23"/>
    <p:sldLayoutId id="2147483738" r:id="rId24"/>
    <p:sldLayoutId id="2147483744" r:id="rId25"/>
    <p:sldLayoutId id="2147483745" r:id="rId26"/>
    <p:sldLayoutId id="2147483746" r:id="rId27"/>
    <p:sldLayoutId id="2147483747" r:id="rId28"/>
    <p:sldLayoutId id="2147483732" r:id="rId29"/>
    <p:sldLayoutId id="2147483757" r:id="rId30"/>
    <p:sldLayoutId id="2147483758" r:id="rId31"/>
    <p:sldLayoutId id="2147483721" r:id="rId32"/>
    <p:sldLayoutId id="2147483765" r:id="rId33"/>
    <p:sldLayoutId id="2147483768" r:id="rId34"/>
  </p:sldLayoutIdLst>
  <p:transition advClick="0"/>
  <p:hf hdr="0" ftr="0" dt="0"/>
  <p:txStyles>
    <p:titleStyle>
      <a:lvl1pPr marL="108000" algn="l" defTabSz="608013" rtl="0" eaLnBrk="1" fontAlgn="base" hangingPunct="1">
        <a:spcBef>
          <a:spcPct val="0"/>
        </a:spcBef>
        <a:spcAft>
          <a:spcPct val="0"/>
        </a:spcAft>
        <a:tabLst>
          <a:tab pos="117475" algn="l"/>
        </a:tabLst>
        <a:defRPr sz="3200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defTabSz="608013" rtl="0" eaLnBrk="1" fontAlgn="base" hangingPunct="1">
        <a:spcBef>
          <a:spcPct val="0"/>
        </a:spcBef>
        <a:spcAft>
          <a:spcPct val="0"/>
        </a:spcAft>
        <a:tabLst>
          <a:tab pos="117475" algn="l"/>
        </a:tabLst>
        <a:defRPr sz="3200">
          <a:solidFill>
            <a:schemeClr val="accent1"/>
          </a:solidFill>
          <a:latin typeface="Arial" charset="0"/>
          <a:ea typeface="ＭＳ Ｐゴシック" charset="0"/>
          <a:cs typeface="Arial" panose="020B0604020202020204" pitchFamily="34" charset="0"/>
        </a:defRPr>
      </a:lvl2pPr>
      <a:lvl3pPr algn="l" defTabSz="608013" rtl="0" eaLnBrk="1" fontAlgn="base" hangingPunct="1">
        <a:spcBef>
          <a:spcPct val="0"/>
        </a:spcBef>
        <a:spcAft>
          <a:spcPct val="0"/>
        </a:spcAft>
        <a:tabLst>
          <a:tab pos="117475" algn="l"/>
        </a:tabLst>
        <a:defRPr sz="3200">
          <a:solidFill>
            <a:schemeClr val="accent1"/>
          </a:solidFill>
          <a:latin typeface="Arial" charset="0"/>
          <a:ea typeface="ＭＳ Ｐゴシック" charset="0"/>
          <a:cs typeface="Arial" panose="020B0604020202020204" pitchFamily="34" charset="0"/>
        </a:defRPr>
      </a:lvl3pPr>
      <a:lvl4pPr algn="l" defTabSz="608013" rtl="0" eaLnBrk="1" fontAlgn="base" hangingPunct="1">
        <a:spcBef>
          <a:spcPct val="0"/>
        </a:spcBef>
        <a:spcAft>
          <a:spcPct val="0"/>
        </a:spcAft>
        <a:tabLst>
          <a:tab pos="117475" algn="l"/>
        </a:tabLst>
        <a:defRPr sz="3200">
          <a:solidFill>
            <a:schemeClr val="accent1"/>
          </a:solidFill>
          <a:latin typeface="Arial" charset="0"/>
          <a:ea typeface="ＭＳ Ｐゴシック" charset="0"/>
          <a:cs typeface="Arial" panose="020B0604020202020204" pitchFamily="34" charset="0"/>
        </a:defRPr>
      </a:lvl4pPr>
      <a:lvl5pPr algn="l" defTabSz="608013" rtl="0" eaLnBrk="1" fontAlgn="base" hangingPunct="1">
        <a:spcBef>
          <a:spcPct val="0"/>
        </a:spcBef>
        <a:spcAft>
          <a:spcPct val="0"/>
        </a:spcAft>
        <a:tabLst>
          <a:tab pos="117475" algn="l"/>
        </a:tabLst>
        <a:defRPr sz="3200">
          <a:solidFill>
            <a:schemeClr val="accent1"/>
          </a:solidFill>
          <a:latin typeface="Arial" charset="0"/>
          <a:ea typeface="ＭＳ Ｐゴシック" charset="0"/>
          <a:cs typeface="Arial" panose="020B0604020202020204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tabLst>
          <a:tab pos="118530" algn="l"/>
        </a:tabLst>
        <a:defRPr sz="3200">
          <a:solidFill>
            <a:schemeClr val="accent1"/>
          </a:solidFill>
          <a:latin typeface="Arial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tabLst>
          <a:tab pos="118530" algn="l"/>
        </a:tabLst>
        <a:defRPr sz="3200">
          <a:solidFill>
            <a:schemeClr val="accent1"/>
          </a:solidFill>
          <a:latin typeface="Arial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tabLst>
          <a:tab pos="118530" algn="l"/>
        </a:tabLst>
        <a:defRPr sz="3200">
          <a:solidFill>
            <a:schemeClr val="accent1"/>
          </a:solidFill>
          <a:latin typeface="Arial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tabLst>
          <a:tab pos="118530" algn="l"/>
        </a:tabLst>
        <a:defRPr sz="3200">
          <a:solidFill>
            <a:schemeClr val="accent1"/>
          </a:solidFill>
          <a:latin typeface="Arial" charset="0"/>
          <a:ea typeface="ＭＳ Ｐゴシック" charset="0"/>
        </a:defRPr>
      </a:lvl9pPr>
    </p:titleStyle>
    <p:bodyStyle>
      <a:lvl1pPr marL="455613" indent="-455613" algn="l" defTabSz="608013" rtl="0" eaLnBrk="1" fontAlgn="base" hangingPunct="1">
        <a:spcBef>
          <a:spcPct val="0"/>
        </a:spcBef>
        <a:spcAft>
          <a:spcPts val="800"/>
        </a:spcAft>
        <a:buFont typeface="Arial" panose="020B0604020202020204" pitchFamily="34" charset="0"/>
        <a:defRPr sz="2000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marL="989013" indent="-379413" algn="l" defTabSz="608013" rtl="0" eaLnBrk="1" fontAlgn="base" hangingPunct="1">
        <a:lnSpc>
          <a:spcPts val="2663"/>
        </a:lnSpc>
        <a:spcBef>
          <a:spcPts val="800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accent1"/>
          </a:solidFill>
          <a:latin typeface="Arial"/>
          <a:ea typeface="ＭＳ Ｐゴシック" charset="0"/>
          <a:cs typeface="Arial"/>
        </a:defRPr>
      </a:lvl2pPr>
      <a:lvl3pPr marL="598488" indent="-238125" algn="l" defTabSz="608013" rtl="0" eaLnBrk="1" fontAlgn="base" hangingPunct="1">
        <a:spcBef>
          <a:spcPct val="0"/>
        </a:spcBef>
        <a:spcAft>
          <a:spcPts val="800"/>
        </a:spcAft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Arial"/>
          <a:ea typeface="ＭＳ Ｐゴシック" charset="0"/>
          <a:cs typeface="Arial"/>
        </a:defRPr>
      </a:lvl3pPr>
      <a:lvl4pPr marL="954088" indent="-231775" algn="l" defTabSz="608013" rtl="0" eaLnBrk="1" fontAlgn="base" hangingPunct="1">
        <a:spcBef>
          <a:spcPct val="0"/>
        </a:spcBef>
        <a:spcAft>
          <a:spcPts val="800"/>
        </a:spcAft>
        <a:buFont typeface="Arial" panose="020B0604020202020204" pitchFamily="34" charset="0"/>
        <a:buChar char="•"/>
        <a:defRPr kern="1200">
          <a:solidFill>
            <a:schemeClr val="accent1"/>
          </a:solidFill>
          <a:latin typeface="Arial"/>
          <a:ea typeface="ＭＳ Ｐゴシック" charset="0"/>
          <a:cs typeface="Arial"/>
        </a:defRPr>
      </a:lvl4pPr>
      <a:lvl5pPr marL="1431925" indent="-188913" algn="l" defTabSz="608013" rtl="0" eaLnBrk="1" fontAlgn="base" hangingPunct="1">
        <a:spcBef>
          <a:spcPct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Arial"/>
          <a:ea typeface="ＭＳ Ｐゴシック" charset="0"/>
          <a:cs typeface="Arial"/>
        </a:defRPr>
      </a:lvl5pPr>
      <a:lvl6pPr marL="1909186" indent="-304792" algn="l" defTabSz="609585" rtl="0" eaLnBrk="1" fontAlgn="base" latinLnBrk="0" hangingPunct="1">
        <a:lnSpc>
          <a:spcPct val="100000"/>
        </a:lnSpc>
        <a:spcBef>
          <a:spcPct val="0"/>
        </a:spcBef>
        <a:spcAft>
          <a:spcPts val="800"/>
        </a:spcAft>
        <a:buFont typeface="Arial" panose="020B0604020202020204" pitchFamily="34" charset="0"/>
        <a:buChar char="•"/>
        <a:defRPr lang="de-DE" altLang="de-DE" sz="1600" kern="1200" baseline="0" dirty="0" smtClean="0">
          <a:solidFill>
            <a:schemeClr val="accent1"/>
          </a:solidFill>
          <a:latin typeface="Arial"/>
          <a:ea typeface="ＭＳ Ｐゴシック" charset="0"/>
          <a:cs typeface="Arial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79B9D3-D964-4101-B704-6DF40361A6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C4AD13-D5DC-4725-B2E5-0ECB00F920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endParaRPr lang="en-US" sz="24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HACIE A OHÝBACIE ZARIADENIE </a:t>
            </a:r>
            <a:endParaRPr lang="sk-SK" sz="2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ojár Inovátor</a:t>
            </a:r>
            <a:endParaRPr lang="en-US" sz="24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ctr">
              <a:lnSpc>
                <a:spcPct val="110000"/>
              </a:lnSpc>
              <a:spcAft>
                <a:spcPts val="600"/>
              </a:spcAft>
              <a:buNone/>
            </a:pPr>
            <a:endParaRPr lang="en-US" sz="24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26										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			</a:t>
            </a: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ešiteľ</a:t>
            </a:r>
          </a:p>
          <a:p>
            <a:pPr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							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			</a:t>
            </a: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án Katreniak</a:t>
            </a:r>
          </a:p>
          <a:p>
            <a:pPr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išská Nová Ves								</a:t>
            </a:r>
            <a:r>
              <a:rPr lang="en-US" sz="1800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		</a:t>
            </a:r>
            <a:r>
              <a:rPr lang="sk-SK" sz="1800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čník štúdia: štvrtý</a:t>
            </a:r>
            <a:endParaRPr lang="sk-SK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lnSpc>
                <a:spcPct val="110000"/>
              </a:lnSpc>
              <a:spcAft>
                <a:spcPts val="600"/>
              </a:spcAft>
              <a:buNone/>
            </a:pPr>
            <a:endParaRPr lang="sk-SK" sz="2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645A76-7F9B-4629-826B-7F3EE1883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1" y="152204"/>
            <a:ext cx="11316035" cy="848765"/>
          </a:xfrm>
        </p:spPr>
        <p:txBody>
          <a:bodyPr/>
          <a:lstStyle/>
          <a:p>
            <a:pPr algn="ctr"/>
            <a:r>
              <a:rPr lang="sk-SK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EDNÁ PRIEMYSELNÁ ŠKOLA TECHNICKÁ, HVIEZDOSLAVOVA 6, 052 01 SPIŠSKÁ NOVÁ VES</a:t>
            </a:r>
            <a:br>
              <a:rPr lang="sk-SK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AT" sz="2000" dirty="0"/>
          </a:p>
        </p:txBody>
      </p:sp>
    </p:spTree>
    <p:extLst>
      <p:ext uri="{BB962C8B-B14F-4D97-AF65-F5344CB8AC3E}">
        <p14:creationId xmlns:p14="http://schemas.microsoft.com/office/powerpoint/2010/main" val="3217011177"/>
      </p:ext>
    </p:extLst>
  </p:cSld>
  <p:clrMapOvr>
    <a:masterClrMapping/>
  </p:clrMapOvr>
  <p:transition advClick="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1267C-782D-4851-A33A-DF3CBE515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FC6D2-64DA-4482-B637-5C1D92D3E8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endParaRPr lang="sk-SK" sz="2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buNone/>
            </a:pPr>
            <a:endParaRPr lang="en-AT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3C9F30-7728-4884-824B-B02B3202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éma operácie </a:t>
            </a:r>
            <a:endParaRPr lang="en-AT" dirty="0"/>
          </a:p>
        </p:txBody>
      </p:sp>
      <p:pic>
        <p:nvPicPr>
          <p:cNvPr id="2" name="Obrázok 1">
            <a:extLst>
              <a:ext uri="{FF2B5EF4-FFF2-40B4-BE49-F238E27FC236}">
                <a16:creationId xmlns:a16="http://schemas.microsoft.com/office/drawing/2014/main" id="{45BFAFB9-8493-946E-B9FA-3BD73BFBD1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79" t="1629" r="1455" b="2112"/>
          <a:stretch/>
        </p:blipFill>
        <p:spPr bwMode="auto">
          <a:xfrm>
            <a:off x="1314673" y="740317"/>
            <a:ext cx="1850291" cy="216688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Obrázok 5">
            <a:extLst>
              <a:ext uri="{FF2B5EF4-FFF2-40B4-BE49-F238E27FC236}">
                <a16:creationId xmlns:a16="http://schemas.microsoft.com/office/drawing/2014/main" id="{ABC8DA38-196B-0FC2-12EC-86D8B8E479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8681" y="675920"/>
            <a:ext cx="3132616" cy="2383622"/>
          </a:xfrm>
          <a:prstGeom prst="rect">
            <a:avLst/>
          </a:prstGeom>
        </p:spPr>
      </p:pic>
      <p:pic>
        <p:nvPicPr>
          <p:cNvPr id="7" name="Obrázok 6">
            <a:extLst>
              <a:ext uri="{FF2B5EF4-FFF2-40B4-BE49-F238E27FC236}">
                <a16:creationId xmlns:a16="http://schemas.microsoft.com/office/drawing/2014/main" id="{27C51AC1-24DB-77C5-25FF-3026D1D7A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662" y="3798458"/>
            <a:ext cx="3324299" cy="2166883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BECF3FFB-EDFB-B2C6-FE19-BB608F4F37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2312" y="3734061"/>
            <a:ext cx="2800015" cy="2383622"/>
          </a:xfrm>
          <a:prstGeom prst="rect">
            <a:avLst/>
          </a:prstGeom>
        </p:spPr>
      </p:pic>
      <p:sp>
        <p:nvSpPr>
          <p:cNvPr id="10" name="BlokTextu 9">
            <a:extLst>
              <a:ext uri="{FF2B5EF4-FFF2-40B4-BE49-F238E27FC236}">
                <a16:creationId xmlns:a16="http://schemas.microsoft.com/office/drawing/2014/main" id="{35634227-319A-0CE1-969B-17E9E86788BD}"/>
              </a:ext>
            </a:extLst>
          </p:cNvPr>
          <p:cNvSpPr txBox="1"/>
          <p:nvPr/>
        </p:nvSpPr>
        <p:spPr>
          <a:xfrm>
            <a:off x="974138" y="2907199"/>
            <a:ext cx="2656900" cy="381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4320" indent="-274320" algn="just">
              <a:lnSpc>
                <a:spcPct val="110000"/>
              </a:lnSpc>
              <a:spcAft>
                <a:spcPts val="600"/>
              </a:spcAft>
            </a:pPr>
            <a:r>
              <a:rPr lang="sk-SK" b="1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Z</a:t>
            </a:r>
            <a:r>
              <a:rPr lang="sk-SK" sz="1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čiatok cyklu strihania</a:t>
            </a:r>
            <a:r>
              <a:rPr lang="sk-SK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sk-SK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BlokTextu 11">
            <a:extLst>
              <a:ext uri="{FF2B5EF4-FFF2-40B4-BE49-F238E27FC236}">
                <a16:creationId xmlns:a16="http://schemas.microsoft.com/office/drawing/2014/main" id="{5A25DCDF-4F77-2827-E18C-AB66E32CA47D}"/>
              </a:ext>
            </a:extLst>
          </p:cNvPr>
          <p:cNvSpPr txBox="1"/>
          <p:nvPr/>
        </p:nvSpPr>
        <p:spPr>
          <a:xfrm>
            <a:off x="6976524" y="3054321"/>
            <a:ext cx="2868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loha strihanie a ohýbanie</a:t>
            </a:r>
            <a:endParaRPr lang="sk-SK" dirty="0">
              <a:solidFill>
                <a:schemeClr val="accent1"/>
              </a:solidFill>
            </a:endParaRPr>
          </a:p>
        </p:txBody>
      </p:sp>
      <p:sp>
        <p:nvSpPr>
          <p:cNvPr id="14" name="BlokTextu 13">
            <a:extLst>
              <a:ext uri="{FF2B5EF4-FFF2-40B4-BE49-F238E27FC236}">
                <a16:creationId xmlns:a16="http://schemas.microsoft.com/office/drawing/2014/main" id="{3198C5F0-C79C-7CAF-A88E-7733C0EFDDA9}"/>
              </a:ext>
            </a:extLst>
          </p:cNvPr>
          <p:cNvSpPr txBox="1"/>
          <p:nvPr/>
        </p:nvSpPr>
        <p:spPr>
          <a:xfrm>
            <a:off x="1380573" y="6022642"/>
            <a:ext cx="29493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loha vyhodenia výstrižku</a:t>
            </a:r>
            <a:endParaRPr lang="sk-SK" dirty="0">
              <a:solidFill>
                <a:schemeClr val="accent1"/>
              </a:solidFill>
            </a:endParaRPr>
          </a:p>
        </p:txBody>
      </p:sp>
      <p:sp>
        <p:nvSpPr>
          <p:cNvPr id="16" name="BlokTextu 15">
            <a:extLst>
              <a:ext uri="{FF2B5EF4-FFF2-40B4-BE49-F238E27FC236}">
                <a16:creationId xmlns:a16="http://schemas.microsoft.com/office/drawing/2014/main" id="{381C26E1-D245-DC03-5E70-C1C748D5A090}"/>
              </a:ext>
            </a:extLst>
          </p:cNvPr>
          <p:cNvSpPr txBox="1"/>
          <p:nvPr/>
        </p:nvSpPr>
        <p:spPr>
          <a:xfrm>
            <a:off x="7089424" y="6094757"/>
            <a:ext cx="26067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loha ukončenia cyklu</a:t>
            </a:r>
            <a:endParaRPr lang="sk-SK" dirty="0">
              <a:solidFill>
                <a:schemeClr val="accent1"/>
              </a:solidFill>
            </a:endParaRPr>
          </a:p>
        </p:txBody>
      </p:sp>
      <p:grpSp>
        <p:nvGrpSpPr>
          <p:cNvPr id="17" name="Group 6">
            <a:extLst>
              <a:ext uri="{FF2B5EF4-FFF2-40B4-BE49-F238E27FC236}">
                <a16:creationId xmlns:a16="http://schemas.microsoft.com/office/drawing/2014/main" id="{0F2B0FAC-536A-0191-3776-AE4BEA9586D3}"/>
              </a:ext>
            </a:extLst>
          </p:cNvPr>
          <p:cNvGrpSpPr/>
          <p:nvPr/>
        </p:nvGrpSpPr>
        <p:grpSpPr>
          <a:xfrm>
            <a:off x="4914702" y="1542084"/>
            <a:ext cx="480776" cy="563347"/>
            <a:chOff x="394952" y="5661693"/>
            <a:chExt cx="480776" cy="563347"/>
          </a:xfrm>
        </p:grpSpPr>
        <p:sp>
          <p:nvSpPr>
            <p:cNvPr id="18" name="Arrow: Chevron 7">
              <a:extLst>
                <a:ext uri="{FF2B5EF4-FFF2-40B4-BE49-F238E27FC236}">
                  <a16:creationId xmlns:a16="http://schemas.microsoft.com/office/drawing/2014/main" id="{18F173D9-A7C6-806D-AC80-792A4F2C74AF}"/>
                </a:ext>
              </a:extLst>
            </p:cNvPr>
            <p:cNvSpPr/>
            <p:nvPr userDrawn="1"/>
          </p:nvSpPr>
          <p:spPr>
            <a:xfrm>
              <a:off x="394952" y="5661693"/>
              <a:ext cx="278147" cy="563347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8">
              <a:extLst>
                <a:ext uri="{FF2B5EF4-FFF2-40B4-BE49-F238E27FC236}">
                  <a16:creationId xmlns:a16="http://schemas.microsoft.com/office/drawing/2014/main" id="{68A3E1E2-D2FF-D63E-7671-8ECCFA3690EA}"/>
                </a:ext>
              </a:extLst>
            </p:cNvPr>
            <p:cNvSpPr/>
            <p:nvPr userDrawn="1"/>
          </p:nvSpPr>
          <p:spPr>
            <a:xfrm>
              <a:off x="597582" y="5661694"/>
              <a:ext cx="278146" cy="563346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6">
            <a:extLst>
              <a:ext uri="{FF2B5EF4-FFF2-40B4-BE49-F238E27FC236}">
                <a16:creationId xmlns:a16="http://schemas.microsoft.com/office/drawing/2014/main" id="{3900148A-31E9-70D9-9A5F-3B03C7470AF0}"/>
              </a:ext>
            </a:extLst>
          </p:cNvPr>
          <p:cNvGrpSpPr/>
          <p:nvPr/>
        </p:nvGrpSpPr>
        <p:grpSpPr>
          <a:xfrm>
            <a:off x="5755966" y="4644198"/>
            <a:ext cx="480776" cy="563347"/>
            <a:chOff x="394952" y="5661693"/>
            <a:chExt cx="480776" cy="563347"/>
          </a:xfrm>
        </p:grpSpPr>
        <p:sp>
          <p:nvSpPr>
            <p:cNvPr id="21" name="Arrow: Chevron 7">
              <a:extLst>
                <a:ext uri="{FF2B5EF4-FFF2-40B4-BE49-F238E27FC236}">
                  <a16:creationId xmlns:a16="http://schemas.microsoft.com/office/drawing/2014/main" id="{D5A5FB9A-984C-3FA6-E34C-246E50D79618}"/>
                </a:ext>
              </a:extLst>
            </p:cNvPr>
            <p:cNvSpPr/>
            <p:nvPr userDrawn="1"/>
          </p:nvSpPr>
          <p:spPr>
            <a:xfrm>
              <a:off x="394952" y="5661693"/>
              <a:ext cx="278147" cy="563347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  <p:sp>
          <p:nvSpPr>
            <p:cNvPr id="22" name="Arrow: Chevron 8">
              <a:extLst>
                <a:ext uri="{FF2B5EF4-FFF2-40B4-BE49-F238E27FC236}">
                  <a16:creationId xmlns:a16="http://schemas.microsoft.com/office/drawing/2014/main" id="{AA810D65-841B-87A4-7091-39C9EFE76BEE}"/>
                </a:ext>
              </a:extLst>
            </p:cNvPr>
            <p:cNvSpPr/>
            <p:nvPr userDrawn="1"/>
          </p:nvSpPr>
          <p:spPr>
            <a:xfrm>
              <a:off x="597582" y="5661694"/>
              <a:ext cx="278146" cy="563346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9522525"/>
      </p:ext>
    </p:extLst>
  </p:cSld>
  <p:clrMapOvr>
    <a:masterClrMapping/>
  </p:clrMapOvr>
  <p:transition advClick="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B82477-482A-4404-981E-4C87EBCEBC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0C83FF-03AB-4695-9230-1A6944C61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Cieľ práce</a:t>
            </a:r>
            <a:endParaRPr lang="en-AT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5272871-A275-4711-96AB-C552C6B48632}"/>
              </a:ext>
            </a:extLst>
          </p:cNvPr>
          <p:cNvGrpSpPr/>
          <p:nvPr/>
        </p:nvGrpSpPr>
        <p:grpSpPr>
          <a:xfrm>
            <a:off x="6191516" y="4705349"/>
            <a:ext cx="480776" cy="563347"/>
            <a:chOff x="394952" y="5661693"/>
            <a:chExt cx="480776" cy="563347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1924A9F9-E7D0-42C3-83CD-E49BD44207E0}"/>
                </a:ext>
              </a:extLst>
            </p:cNvPr>
            <p:cNvSpPr/>
            <p:nvPr userDrawn="1"/>
          </p:nvSpPr>
          <p:spPr>
            <a:xfrm>
              <a:off x="394952" y="5661693"/>
              <a:ext cx="278147" cy="563347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BEB45EDB-0086-4CE5-AFB8-2D866CC4B48A}"/>
                </a:ext>
              </a:extLst>
            </p:cNvPr>
            <p:cNvSpPr/>
            <p:nvPr userDrawn="1"/>
          </p:nvSpPr>
          <p:spPr>
            <a:xfrm>
              <a:off x="597582" y="5661694"/>
              <a:ext cx="278146" cy="563346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>
                <a:solidFill>
                  <a:schemeClr val="tx1"/>
                </a:solidFill>
              </a:endParaRPr>
            </a:p>
          </p:txBody>
        </p:sp>
      </p:grpSp>
      <p:pic>
        <p:nvPicPr>
          <p:cNvPr id="1026" name="Obrázok 2">
            <a:extLst>
              <a:ext uri="{FF2B5EF4-FFF2-40B4-BE49-F238E27FC236}">
                <a16:creationId xmlns:a16="http://schemas.microsoft.com/office/drawing/2014/main" id="{BE1EC6E2-81C9-5BDE-6A0E-E9A3D5512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561" r="57701" b="18320"/>
          <a:stretch>
            <a:fillRect/>
          </a:stretch>
        </p:blipFill>
        <p:spPr bwMode="auto">
          <a:xfrm>
            <a:off x="1193632" y="3627861"/>
            <a:ext cx="3436938" cy="238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Obrázok 1">
            <a:extLst>
              <a:ext uri="{FF2B5EF4-FFF2-40B4-BE49-F238E27FC236}">
                <a16:creationId xmlns:a16="http://schemas.microsoft.com/office/drawing/2014/main" id="{C36D3264-5ACC-9342-B0EF-19A1CB260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201" y="3525308"/>
            <a:ext cx="3284793" cy="270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7C7F6EAF-1BEB-EEE3-5D09-23CC927BC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219" y="973214"/>
            <a:ext cx="11084776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k-SK" altLang="sk-S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k-SK" altLang="sk-SK" sz="2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ieľom predkladanej práce je navrhnúť a skonštruovať strihací a ohýbací prípravok na medený drôt hrúbky 9 mm, ktorý sa používa na infiltráciu dielov vyrobených technológiou práškovej metalurgie. V prototypovej fáze vývoja sa používa drôt manuálne sekaný na potrebnú hmotnosť. Navrhované riešenie má zabezpečiť sériovú prípravu drôtu na infiltráciu, ako aj možnosť zavedenia automatizácie pri nakladaní lisovaných dielov na </a:t>
            </a:r>
            <a:r>
              <a:rPr kumimoji="0" lang="sk-SK" altLang="sk-SK" sz="24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ekaciu</a:t>
            </a:r>
            <a:r>
              <a:rPr kumimoji="0" lang="sk-SK" altLang="sk-SK" sz="2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ásovú pec a medeného drôtu z podávača. </a:t>
            </a:r>
            <a:endParaRPr kumimoji="0" lang="sk-SK" altLang="sk-SK" sz="2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k-SK" altLang="sk-S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C5CA6908-DED1-E9D4-D2B8-979544908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2789" y="6183567"/>
            <a:ext cx="344632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k-SK" altLang="sk-SK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br. 1 Pôvodné prototypové riešenie</a:t>
            </a:r>
            <a:endParaRPr kumimoji="0" lang="sk-SK" altLang="sk-S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k-SK" altLang="sk-S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C5951E75-943F-1023-C3C0-B013E4229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4149" y="6185486"/>
            <a:ext cx="281784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k-SK" altLang="sk-SK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br. 2 Navrhované riešenie</a:t>
            </a:r>
            <a:endParaRPr kumimoji="0" lang="sk-SK" altLang="sk-S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151881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DCDC2-C2FF-4654-9FF7-9269027F69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F8C87A-772C-496B-9096-B3C50C640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strihový</a:t>
            </a:r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lán</a:t>
            </a:r>
            <a:endParaRPr lang="en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BlokTextu 6">
                <a:extLst>
                  <a:ext uri="{FF2B5EF4-FFF2-40B4-BE49-F238E27FC236}">
                    <a16:creationId xmlns:a16="http://schemas.microsoft.com/office/drawing/2014/main" id="{87C04509-7CF8-667B-FA06-AFCF05D278FE}"/>
                  </a:ext>
                </a:extLst>
              </p:cNvPr>
              <p:cNvSpPr txBox="1"/>
              <p:nvPr/>
            </p:nvSpPr>
            <p:spPr>
              <a:xfrm>
                <a:off x="394952" y="1118210"/>
                <a:ext cx="11026083" cy="559980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re jednoduché strihanie, jednoradové bez odpadu. Strihať budeme medený drôt o priemere </a:t>
                </a: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9 mm.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Požadovaný parameter výstrižku je hmotnosť predpísaná na infiltráciu 95g.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Výpočet potrebnej dĺžky drôtu: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Objemová hustota medi 				</a:t>
                </a:r>
                <a:r>
                  <a:rPr lang="sk-SK" sz="1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ρ = 8,986 g.cm</a:t>
                </a:r>
                <a:r>
                  <a:rPr lang="sk-SK" sz="1800" b="1" baseline="30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-3</a:t>
                </a: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 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otrebný objem medi vypočítame</a:t>
                </a:r>
                <a:r>
                  <a:rPr lang="sk-SK" sz="2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		</a:t>
                </a:r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sk-SK" sz="2800" b="1" i="1" kern="100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𝒎</m:t>
                        </m:r>
                      </m:num>
                      <m:den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Calibri" panose="020F0502020204030204" pitchFamily="34" charset="0"/>
                          </a:rPr>
                          <m:t>𝛒</m:t>
                        </m:r>
                      </m:den>
                    </m:f>
                  </m:oMath>
                </a14:m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sk-SK" sz="2800" b="1" i="1" kern="100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𝟗𝟓</m:t>
                        </m:r>
                      </m:num>
                      <m:den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Calibri" panose="020F0502020204030204" pitchFamily="34" charset="0"/>
                          </a:rPr>
                          <m:t>𝟖</m:t>
                        </m:r>
                        <m:r>
                          <a:rPr lang="sk-SK" sz="2800" b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Calibri" panose="020F0502020204030204" pitchFamily="34" charset="0"/>
                          </a:rPr>
                          <m:t>,</m:t>
                        </m:r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Calibri" panose="020F0502020204030204" pitchFamily="34" charset="0"/>
                          </a:rPr>
                          <m:t>𝟗𝟔</m:t>
                        </m:r>
                      </m:den>
                    </m:f>
                    <m:r>
                      <a:rPr lang="sk-SK" sz="2800" b="1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</m:oMath>
                </a14:m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10,6 cm</a:t>
                </a:r>
                <a:r>
                  <a:rPr lang="sk-SK" sz="2800" b="1" baseline="30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3 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dirty="0">
                    <a:solidFill>
                      <a:schemeClr val="tx2"/>
                    </a:solidFill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zorec na výpočet objemu valca		</a:t>
                </a:r>
                <a:r>
                  <a:rPr lang="sk-SK" sz="2800" b="1" dirty="0">
                    <a:solidFill>
                      <a:schemeClr val="tx2"/>
                    </a:solidFill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 = v.</a:t>
                </a:r>
                <a:r>
                  <a:rPr lang="sk-SK" sz="2800" b="1" dirty="0">
                    <a:solidFill>
                      <a:schemeClr val="tx2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sk-SK" sz="2800" b="1" i="1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𝝅</m:t>
                    </m:r>
                    <m:r>
                      <a:rPr lang="sk-SK" sz="2800" b="1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.</m:t>
                    </m:r>
                    <m:sSup>
                      <m:sSupPr>
                        <m:ctrlPr>
                          <a:rPr lang="sk-SK" sz="2800" b="1" i="1" kern="100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𝒓</m:t>
                        </m:r>
                      </m:e>
                      <m:sup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lang="sk-SK" sz="2800" b="1" dirty="0">
                  <a:solidFill>
                    <a:schemeClr val="tx2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 – objem valca (m</a:t>
                </a: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m</a:t>
                </a:r>
                <a:r>
                  <a:rPr lang="sk-SK" sz="1800" baseline="30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3</a:t>
                </a: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  <a:r>
                  <a:rPr lang="sk-SK" sz="1800" baseline="30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 </a:t>
                </a: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sk-SK" sz="1800" b="0" i="1" smtClean="0">
                        <a:solidFill>
                          <a:schemeClr val="tx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𝜋</m:t>
                    </m:r>
                  </m:oMath>
                </a14:m>
                <a:r>
                  <a:rPr lang="sk-SK" sz="1800" dirty="0">
                    <a:solidFill>
                      <a:schemeClr val="tx2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</a:t>
                </a:r>
                <a:r>
                  <a:rPr lang="sk-SK" sz="1800" dirty="0" err="1">
                    <a:solidFill>
                      <a:schemeClr val="tx2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Ludolfovo</a:t>
                </a:r>
                <a:r>
                  <a:rPr lang="sk-SK" sz="1800" dirty="0">
                    <a:solidFill>
                      <a:schemeClr val="tx2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číslo (3,14159)</a:t>
                </a: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dirty="0">
                    <a:solidFill>
                      <a:schemeClr val="tx2"/>
                    </a:solidFill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 – výška valca / dĺžka drôtu (mm ) </a:t>
                </a: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dirty="0">
                    <a:solidFill>
                      <a:schemeClr val="tx2"/>
                    </a:solidFill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r – polomer podstavy kruhu / drôtu</a:t>
                </a:r>
                <a:endParaRPr lang="sk-SK" sz="1800" dirty="0">
                  <a:solidFill>
                    <a:schemeClr val="tx2"/>
                  </a:solidFill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otrebná dĺžka drôtu priemeru 9 mm</a:t>
                </a:r>
                <a:r>
                  <a:rPr lang="sk-SK" sz="20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	</a:t>
                </a:r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v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sk-SK" sz="2800" b="1" i="1" kern="100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𝑽</m:t>
                        </m:r>
                      </m:num>
                      <m:den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𝝅</m:t>
                        </m:r>
                        <m:sSup>
                          <m:sSupPr>
                            <m:ctrlPr>
                              <a:rPr lang="sk-SK" sz="2800" b="1" i="1" kern="100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𝒓</m:t>
                            </m:r>
                          </m:e>
                          <m:sup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p>
                        </m:sSup>
                      </m:den>
                    </m:f>
                  </m:oMath>
                </a14:m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sk-SK" sz="2800" b="1" i="1" kern="100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𝟎𝟔𝟎𝟎</m:t>
                        </m:r>
                      </m:num>
                      <m:den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𝝅</m:t>
                        </m:r>
                        <m:r>
                          <a:rPr lang="sk-SK" sz="2800" b="1" i="1">
                            <a:solidFill>
                              <a:schemeClr val="tx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 .  </m:t>
                        </m:r>
                        <m:sSup>
                          <m:sSupPr>
                            <m:ctrlPr>
                              <a:rPr lang="sk-SK" sz="2800" b="1" i="1" kern="100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𝟒</m:t>
                            </m:r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𝟓</m:t>
                            </m:r>
                          </m:e>
                          <m:sup>
                            <m:r>
                              <a:rPr lang="sk-SK" sz="2800" b="1" i="1">
                                <a:solidFill>
                                  <a:schemeClr val="tx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p>
                        </m:sSup>
                      </m:den>
                    </m:f>
                  </m:oMath>
                </a14:m>
                <a:r>
                  <a:rPr lang="sk-SK" sz="2800" b="1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= 166,7 mm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sk-SK" sz="1800" dirty="0"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Strihať budeme medený drôt o priemere 9 mm a dĺžky 166,7 mm.</a:t>
                </a:r>
                <a:endParaRPr lang="sk-SK" sz="1400" dirty="0">
                  <a:solidFill>
                    <a:schemeClr val="tx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BlokTextu 6">
                <a:extLst>
                  <a:ext uri="{FF2B5EF4-FFF2-40B4-BE49-F238E27FC236}">
                    <a16:creationId xmlns:a16="http://schemas.microsoft.com/office/drawing/2014/main" id="{87C04509-7CF8-667B-FA06-AFCF05D278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952" y="1118210"/>
                <a:ext cx="11026083" cy="5599803"/>
              </a:xfrm>
              <a:prstGeom prst="rect">
                <a:avLst/>
              </a:prstGeom>
              <a:blipFill>
                <a:blip r:embed="rId2"/>
                <a:stretch>
                  <a:fillRect l="-498" t="-326" b="-762"/>
                </a:stretch>
              </a:blipFill>
            </p:spPr>
            <p:txBody>
              <a:bodyPr/>
              <a:lstStyle/>
              <a:p>
                <a:r>
                  <a:rPr lang="sk-SK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90017560"/>
      </p:ext>
    </p:extLst>
  </p:cSld>
  <p:clrMapOvr>
    <a:masterClrMapping/>
  </p:clrMapOvr>
  <p:transition advClick="0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447634-113F-4412-BF0E-CD8D3D2B7A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A0C3D365-5684-E4B4-F7BB-DF9CEC6A1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2" y="152204"/>
            <a:ext cx="8471236" cy="848765"/>
          </a:xfrm>
        </p:spPr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chanická zostava prípravku</a:t>
            </a:r>
            <a:endParaRPr lang="en-AT" dirty="0"/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7491A0F7-BF5D-8361-C637-CC1801F67B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725"/>
          <a:stretch/>
        </p:blipFill>
        <p:spPr>
          <a:xfrm>
            <a:off x="651500" y="957897"/>
            <a:ext cx="7480697" cy="5424974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0092CCF4-987B-BAB2-F12C-264B630A4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7373" y="725902"/>
            <a:ext cx="3399675" cy="4462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endParaRPr kumimoji="0" lang="sk-SK" altLang="sk-S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horná </a:t>
            </a: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upinacia</a:t>
            </a: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 doska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dirty="0">
                <a:solidFill>
                  <a:schemeClr val="tx2"/>
                </a:solidFill>
                <a:latin typeface="CenturyGothic"/>
                <a:cs typeface="Times New Roman" panose="02020603050405020304" pitchFamily="18" charset="0"/>
              </a:rPr>
              <a:t>upínacia doska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strižník</a:t>
            </a: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 a </a:t>
            </a: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ohybník</a:t>
            </a:r>
            <a:endParaRPr lang="sk-SK" sz="2400" b="0" i="0" u="none" strike="noStrike" baseline="0" dirty="0">
              <a:solidFill>
                <a:schemeClr val="tx2"/>
              </a:solidFill>
              <a:latin typeface="CenturyGothic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ohybnica1 a </a:t>
            </a: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strižnica</a:t>
            </a:r>
            <a:endParaRPr lang="sk-SK" sz="2400" b="0" i="0" u="none" strike="noStrike" baseline="0" dirty="0">
              <a:solidFill>
                <a:schemeClr val="tx2"/>
              </a:solidFill>
              <a:latin typeface="CenturyGothic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dirty="0">
                <a:solidFill>
                  <a:schemeClr val="tx2"/>
                </a:solidFill>
                <a:latin typeface="CenturyGothic"/>
              </a:rPr>
              <a:t>o</a:t>
            </a: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hybnica2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základova</a:t>
            </a: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 </a:t>
            </a: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platna</a:t>
            </a:r>
            <a:endParaRPr lang="sk-SK" sz="2400" b="0" i="0" u="none" strike="noStrike" baseline="0" dirty="0">
              <a:solidFill>
                <a:schemeClr val="tx2"/>
              </a:solidFill>
              <a:latin typeface="CenturyGothic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dolná </a:t>
            </a:r>
            <a:r>
              <a:rPr lang="sk-SK" sz="2400" b="0" i="0" u="none" strike="noStrike" baseline="0" dirty="0" err="1">
                <a:solidFill>
                  <a:schemeClr val="tx2"/>
                </a:solidFill>
                <a:latin typeface="CenturyGothic"/>
              </a:rPr>
              <a:t>upinacia</a:t>
            </a:r>
            <a:r>
              <a:rPr lang="sk-SK" sz="2400" b="0" i="0" u="none" strike="noStrike" baseline="0" dirty="0">
                <a:solidFill>
                  <a:schemeClr val="tx2"/>
                </a:solidFill>
                <a:latin typeface="CenturyGothic"/>
              </a:rPr>
              <a:t> doska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dirty="0">
                <a:solidFill>
                  <a:schemeClr val="tx2"/>
                </a:solidFill>
                <a:latin typeface="CenturyGothic"/>
                <a:cs typeface="Times New Roman" panose="02020603050405020304" pitchFamily="18" charset="0"/>
              </a:rPr>
              <a:t>nastavovacia skrutka 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sk-SK" sz="2400" dirty="0">
                <a:solidFill>
                  <a:schemeClr val="tx2"/>
                </a:solidFill>
                <a:latin typeface="CenturyGothic"/>
                <a:cs typeface="Times New Roman" panose="02020603050405020304" pitchFamily="18" charset="0"/>
              </a:rPr>
              <a:t>drôt</a:t>
            </a:r>
            <a:endParaRPr lang="sk-SK" sz="2400" dirty="0">
              <a:solidFill>
                <a:schemeClr val="tx2"/>
              </a:solidFill>
              <a:cs typeface="Times New Roman" panose="02020603050405020304" pitchFamily="18" charset="0"/>
            </a:endParaRPr>
          </a:p>
          <a:p>
            <a:pPr algn="l"/>
            <a:r>
              <a:rPr lang="sk-SK" sz="1800" b="0" i="0" u="none" strike="noStrike" baseline="0" dirty="0">
                <a:latin typeface="CenturyGothic"/>
              </a:rPr>
              <a:t> </a:t>
            </a:r>
            <a:endParaRPr lang="es-ES" sz="1800" b="0" i="0" u="none" strike="noStrike" baseline="0" dirty="0">
              <a:latin typeface="CenturyGothic"/>
            </a:endParaRPr>
          </a:p>
          <a:p>
            <a:pPr algn="l"/>
            <a:r>
              <a:rPr kumimoji="0" lang="sk-SK" altLang="sk-SK" sz="2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sk-SK" altLang="sk-SK" sz="2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endParaRPr kumimoji="0" lang="sk-SK" altLang="sk-S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454211"/>
      </p:ext>
    </p:extLst>
  </p:cSld>
  <p:clrMapOvr>
    <a:masterClrMapping/>
  </p:clrMapOvr>
  <p:transition advClick="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218487-B203-43BD-BBCE-85D6E386E1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25EAA2-FA48-4C24-8A85-7C67D93DDA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 návrhu a konštrukcii strihacieho a ohýbacieho prípravku sa vychádza z poznatkov a skúseností v oblasti konštruovania lisovacích a 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librovacích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ástrojov pre práškovú metalurgiu.</a:t>
            </a: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eto poznatky boli získané pri konzultáciách s technikom firmy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ba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nter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lovakia Dolný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bin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 získaní informácií sa pristúpilo k návrhu činných nástrojov, to sú tie ktoré sa priamo podieľajú na procese strihania a ohýbania drôtu.</a:t>
            </a:r>
          </a:p>
          <a:p>
            <a:pPr indent="0">
              <a:buNone/>
            </a:pPr>
            <a:endParaRPr lang="en-A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B1EE3C-58D0-4E3B-8342-3D14D9DA9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vrh strihacieho a ohýbacieho prípravku</a:t>
            </a:r>
            <a:endParaRPr lang="en-AT" dirty="0"/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84A910AF-4D08-FCB0-9D2D-1B70484796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3358" y="3863788"/>
            <a:ext cx="2977732" cy="285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653523"/>
      </p:ext>
    </p:extLst>
  </p:cSld>
  <p:clrMapOvr>
    <a:masterClrMapping/>
  </p:clrMapOvr>
  <p:transition advClick="0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1267C-782D-4851-A33A-DF3CBE515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FC6D2-64DA-4482-B637-5C1D92D3E8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4952" y="950259"/>
            <a:ext cx="11316036" cy="5167424"/>
          </a:xfrm>
        </p:spPr>
        <p:txBody>
          <a:bodyPr/>
          <a:lstStyle/>
          <a:p>
            <a:pPr marL="342900" indent="-342900"/>
            <a:r>
              <a:rPr lang="sk-SK" sz="2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ík</a:t>
            </a:r>
            <a:r>
              <a:rPr lang="sk-SK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sk-SK" sz="280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</a:t>
            </a:r>
            <a:r>
              <a:rPr lang="sk-SK" sz="2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ýbník</a:t>
            </a:r>
            <a:r>
              <a:rPr lang="sk-SK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342900" indent="-342900"/>
            <a:r>
              <a:rPr lang="sk-SK" sz="28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hybnica1 a </a:t>
            </a:r>
            <a:r>
              <a:rPr lang="sk-SK" sz="280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ica</a:t>
            </a:r>
            <a:endParaRPr lang="sk-SK" sz="28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/>
            <a:r>
              <a:rPr lang="sk-SK" sz="28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hybnica2</a:t>
            </a:r>
          </a:p>
          <a:p>
            <a:pPr indent="0">
              <a:buNone/>
            </a:pPr>
            <a:endParaRPr lang="sk-SK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buNone/>
            </a:pPr>
            <a:r>
              <a:rPr lang="sk-SK" sz="2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stroje 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rhujeme vyrobiť z nástrojovej ocele 19 436 podľa STN 42 5516-66. Ide o oceľ s vysokou odolnosťou proti opotrebeniu pričom je rozmerovo stabilná po tepelnom spracovaní. Má dobré rezné vlastnosti a prekaliteľnosť. Je vhodná pre prácu za studena, hlavne nože na strihanie plechov.</a:t>
            </a: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endParaRPr lang="sk-SK" sz="1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Činnú časť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íka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hybníka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vrhujeme zakaliť a popustiť na 56 – 58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c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 zabezpečenie dobrej oteru vzdornosti a otláčaniu strižnej hrany.</a:t>
            </a: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endParaRPr lang="sk-SK" sz="1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5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pínaciu časť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íka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hybníka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pätu nástroja) navrhujeme popustiť 53 – 55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c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 zabezpečenie potrebnej húževnatosti pri prenose tlaku na nástroj.</a:t>
            </a:r>
          </a:p>
          <a:p>
            <a:pPr indent="0">
              <a:buNone/>
            </a:pPr>
            <a:endParaRPr lang="sk-SK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3C9F30-7728-4884-824B-B02B3202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vrh nástrojov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3498177785"/>
      </p:ext>
    </p:extLst>
  </p:cSld>
  <p:clrMapOvr>
    <a:masterClrMapping/>
  </p:clrMapOvr>
  <p:transition advClick="0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1267C-782D-4851-A33A-DF3CBE515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FC6D2-64DA-4482-B637-5C1D92D3E8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342900" indent="-342900"/>
            <a:r>
              <a:rPr lang="sk-SK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ákladová platňa</a:t>
            </a:r>
          </a:p>
          <a:p>
            <a:pPr marL="342900" indent="-342900"/>
            <a:r>
              <a:rPr lang="sk-SK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pínacia príruba</a:t>
            </a:r>
          </a:p>
          <a:p>
            <a:pPr indent="0">
              <a:buNone/>
            </a:pPr>
            <a:endParaRPr lang="sk-SK" sz="2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ntážne prvky nástroja navrhujeme vyrobiť z ocele 11 600 podľa STN 42 5510-63, čo je neušľachtilá konštrukčná oceľ obvyklej akosti s vyšším obsahom uhlíka. Je vhodná na strojné súčasti, namáhané staticky aj dynamicky ako aj súčasti vystavené veľkému tlaku ako sú napríklad objímky, matice, podpery atď.</a:t>
            </a:r>
          </a:p>
          <a:p>
            <a:pPr indent="0">
              <a:buNone/>
            </a:pPr>
            <a:endParaRPr lang="en-AT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3C9F30-7728-4884-824B-B02B3202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vrh montážnych prvkov nástroja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3304481777"/>
      </p:ext>
    </p:extLst>
  </p:cSld>
  <p:clrMapOvr>
    <a:masterClrMapping/>
  </p:clrMapOvr>
  <p:transition advClick="0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1267C-782D-4851-A33A-DF3CBE515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FC6D2-64DA-4482-B637-5C1D92D3E8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457200" indent="-457200"/>
            <a:r>
              <a:rPr lang="sk-SK" sz="2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rná upínacia doska</a:t>
            </a:r>
            <a:endParaRPr lang="sk-SK" sz="2800" b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rnú upínaciu dosku navrhujeme vyrobiť z uhlíkovej nástrojovej ocele 19 133 podľa STN 42 5310.12 určenú pre prácu za studena a kaleniu s dobrou prekaliteľnosťou.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 zabezpečenie správnej funkcie a montáže navrhujeme hornú upínaciu dosku kaliť a popustiť na 45 – 48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c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Spodnú časť prebrúsiť na zabezpečenie správnej montáže </a:t>
            </a:r>
            <a:r>
              <a:rPr lang="sk-SK" sz="24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ice</a:t>
            </a: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indent="-285750" algn="just">
              <a:lnSpc>
                <a:spcPct val="110000"/>
              </a:lnSpc>
              <a:spcAft>
                <a:spcPts val="600"/>
              </a:spcAft>
            </a:pPr>
            <a:r>
              <a:rPr lang="sk-SK" sz="2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lná upínacia doska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lnú upínaciu dosku navrhujeme vyrobiť z ocele 11 600 podľa STN 42 5510-63, čo je neušľachtilá konštrukčná oceľ obvyklej akosti s vyšším obsahom uhlíka. Je vhodná na strojné súčasti namáhané staticky aj dynamicky a súčasti vystavené veľkému tlaku ako sú napríklad objímky, matice, podpery atď.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endParaRPr lang="sk-SK" sz="2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buNone/>
            </a:pPr>
            <a:endParaRPr lang="en-AT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3C9F30-7728-4884-824B-B02B3202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vrh prvkov pre montáž do lisu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2374591314"/>
      </p:ext>
    </p:extLst>
  </p:cSld>
  <p:clrMapOvr>
    <a:masterClrMapping/>
  </p:clrMapOvr>
  <p:transition advClick="0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1267C-782D-4851-A33A-DF3CBE515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DFAF5647-5DDF-F144-B773-BD51F8114427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FC6D2-64DA-4482-B637-5C1D92D3E8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 konzultáciách s konštrukčnou kanceláriou a uvážení možností prevádzky, navrhujeme použiť na strihanie a ohýbanie predmetného dielu mechanický lis TPA 15, ktorý je k dispozícii v počte tri kusy v prípade potrebnej náhrady pri plánovaní výroby.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endParaRPr lang="sk-SK" sz="28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2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cké údaje TPA 15/3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. sila strihania 				150 </a:t>
            </a:r>
            <a:r>
              <a:rPr lang="sk-SK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N</a:t>
            </a:r>
            <a:endParaRPr lang="sk-SK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. sila vyhodenia 			80 </a:t>
            </a:r>
            <a:r>
              <a:rPr lang="sk-SK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N</a:t>
            </a:r>
            <a:endParaRPr lang="sk-SK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. pridržanie v strihacej polohe 	50 </a:t>
            </a:r>
            <a:r>
              <a:rPr lang="sk-SK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N</a:t>
            </a:r>
            <a:endParaRPr lang="sk-SK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acovný zdvih hornej </a:t>
            </a:r>
            <a:r>
              <a:rPr lang="sk-SK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žnice</a:t>
            </a: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		100 mm                                                                                  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ýchlosť pracovného zdvihu 		18 – 50 ks/min.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nací motor 					P = 3 kW</a:t>
            </a:r>
          </a:p>
          <a:p>
            <a:pPr indent="0" algn="just">
              <a:lnSpc>
                <a:spcPct val="110000"/>
              </a:lnSpc>
              <a:spcAft>
                <a:spcPts val="600"/>
              </a:spcAft>
              <a:buNone/>
            </a:pPr>
            <a:r>
              <a:rPr lang="sk-SK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			n = 2895 1/min.  </a:t>
            </a:r>
          </a:p>
          <a:p>
            <a:pPr indent="0">
              <a:lnSpc>
                <a:spcPct val="110000"/>
              </a:lnSpc>
              <a:spcAft>
                <a:spcPts val="600"/>
              </a:spcAft>
              <a:buNone/>
            </a:pPr>
            <a:endParaRPr lang="sk-SK" sz="2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buNone/>
            </a:pPr>
            <a:endParaRPr lang="en-AT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3C9F30-7728-4884-824B-B02B32029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chanický lis TPA 15</a:t>
            </a:r>
            <a:endParaRPr lang="en-AT" dirty="0"/>
          </a:p>
        </p:txBody>
      </p:sp>
      <p:pic>
        <p:nvPicPr>
          <p:cNvPr id="2" name="Obrázok 1">
            <a:extLst>
              <a:ext uri="{FF2B5EF4-FFF2-40B4-BE49-F238E27FC236}">
                <a16:creationId xmlns:a16="http://schemas.microsoft.com/office/drawing/2014/main" id="{B32D9DF7-445E-1186-0B78-EF763BC450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4" t="13168" r="1740" b="3590"/>
          <a:stretch/>
        </p:blipFill>
        <p:spPr bwMode="auto">
          <a:xfrm>
            <a:off x="6052970" y="2745833"/>
            <a:ext cx="5048250" cy="33718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97470486"/>
      </p:ext>
    </p:extLst>
  </p:cSld>
  <p:clrMapOvr>
    <a:masterClrMapping/>
  </p:clrMapOvr>
  <p:transition advClick="0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ieTEvOaYEyn8zLlGoy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Custom 1">
      <a:dk1>
        <a:sysClr val="windowText" lastClr="000000"/>
      </a:dk1>
      <a:lt1>
        <a:sysClr val="window" lastClr="FFFFFF"/>
      </a:lt1>
      <a:dk2>
        <a:srgbClr val="002A64"/>
      </a:dk2>
      <a:lt2>
        <a:srgbClr val="EEECE1"/>
      </a:lt2>
      <a:accent1>
        <a:srgbClr val="002A64"/>
      </a:accent1>
      <a:accent2>
        <a:srgbClr val="F9C718"/>
      </a:accent2>
      <a:accent3>
        <a:srgbClr val="93B5BD"/>
      </a:accent3>
      <a:accent4>
        <a:srgbClr val="217CA6"/>
      </a:accent4>
      <a:accent5>
        <a:srgbClr val="4B6A70"/>
      </a:accent5>
      <a:accent6>
        <a:srgbClr val="FF9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headEnd type="none"/>
          <a:tailEnd type="oval" w="sm" len="sm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22356E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F094B93B-2A76-4AED-85B1-0AED382CC4F7}" vid="{A0061460-EBB4-4FBE-9B03-AC0A51F0DA3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AF5254101776459244166FB8D921C7" ma:contentTypeVersion="4" ma:contentTypeDescription="Create a new document." ma:contentTypeScope="" ma:versionID="f2f176bd9b9785e9c868c37e5c9cb21d">
  <xsd:schema xmlns:xsd="http://www.w3.org/2001/XMLSchema" xmlns:xs="http://www.w3.org/2001/XMLSchema" xmlns:p="http://schemas.microsoft.com/office/2006/metadata/properties" xmlns:ns2="476443db-b1f0-47cf-bc9d-1a168c375893" targetNamespace="http://schemas.microsoft.com/office/2006/metadata/properties" ma:root="true" ma:fieldsID="3ea8577f34870937acb774f9593f8e89" ns2:_="">
    <xsd:import namespace="476443db-b1f0-47cf-bc9d-1a168c3758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6443db-b1f0-47cf-bc9d-1a168c3758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4D43FE-7CAB-4A7E-9505-2606D102B2AA}">
  <ds:schemaRefs>
    <ds:schemaRef ds:uri="14459ef8-5222-4314-a7c2-a0d338f44781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A1B3264-D7D7-4D95-8D23-12811E596A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6443db-b1f0-47cf-bc9d-1a168c3758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EA330E5-027C-409A-833E-916F708DCE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15</Words>
  <Application>Microsoft Office PowerPoint</Application>
  <PresentationFormat>Širokouhlá</PresentationFormat>
  <Paragraphs>92</Paragraphs>
  <Slides>10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0</vt:i4>
      </vt:variant>
    </vt:vector>
  </HeadingPairs>
  <TitlesOfParts>
    <vt:vector size="17" baseType="lpstr">
      <vt:lpstr>Arial</vt:lpstr>
      <vt:lpstr>Calibri</vt:lpstr>
      <vt:lpstr>Cambria Math</vt:lpstr>
      <vt:lpstr>CenturyGothic</vt:lpstr>
      <vt:lpstr>Times New Roman</vt:lpstr>
      <vt:lpstr>Office-Design</vt:lpstr>
      <vt:lpstr>think-cell Slide</vt:lpstr>
      <vt:lpstr>STREDNÁ PRIEMYSELNÁ ŠKOLA TECHNICKÁ, HVIEZDOSLAVOVA 6, 052 01 SPIŠSKÁ NOVÁ VES </vt:lpstr>
      <vt:lpstr>Cieľ práce</vt:lpstr>
      <vt:lpstr>Nástrihový plán</vt:lpstr>
      <vt:lpstr>Mechanická zostava prípravku</vt:lpstr>
      <vt:lpstr>Návrh strihacieho a ohýbacieho prípravku</vt:lpstr>
      <vt:lpstr>Návrh nástrojov</vt:lpstr>
      <vt:lpstr>Návrh montážnych prvkov nástroja</vt:lpstr>
      <vt:lpstr>Návrh prvkov pre montáž do lisu</vt:lpstr>
      <vt:lpstr>Mechanický lis TPA 15</vt:lpstr>
      <vt:lpstr>Schéma operáci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DNÁ PRIEMYSELNÁ ŠKOLA TECHNICKÁ, HVIEZDOSLAVOVA 6, 052 01 SPIŠSKÁ NOVÁ VES </dc:title>
  <dc:creator>Katreniak Jan</dc:creator>
  <cp:lastModifiedBy>Katreniak Jan</cp:lastModifiedBy>
  <cp:revision>13</cp:revision>
  <cp:lastPrinted>2022-03-31T06:22:17Z</cp:lastPrinted>
  <dcterms:created xsi:type="dcterms:W3CDTF">2026-02-15T17:58:31Z</dcterms:created>
  <dcterms:modified xsi:type="dcterms:W3CDTF">2026-03-15T19:3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F5254101776459244166FB8D921C7</vt:lpwstr>
  </property>
  <property fmtid="{D5CDD505-2E9C-101B-9397-08002B2CF9AE}" pid="3" name="MSIP_Label_e25d5927-0177-40de-b08f-031f02f4364d_Enabled">
    <vt:lpwstr>true</vt:lpwstr>
  </property>
  <property fmtid="{D5CDD505-2E9C-101B-9397-08002B2CF9AE}" pid="4" name="MSIP_Label_e25d5927-0177-40de-b08f-031f02f4364d_SetDate">
    <vt:lpwstr>2026-03-15T19:20:35Z</vt:lpwstr>
  </property>
  <property fmtid="{D5CDD505-2E9C-101B-9397-08002B2CF9AE}" pid="5" name="MSIP_Label_e25d5927-0177-40de-b08f-031f02f4364d_Method">
    <vt:lpwstr>Privileged</vt:lpwstr>
  </property>
  <property fmtid="{D5CDD505-2E9C-101B-9397-08002B2CF9AE}" pid="6" name="MSIP_Label_e25d5927-0177-40de-b08f-031f02f4364d_Name">
    <vt:lpwstr>e25d5927-0177-40de-b08f-031f02f4364d</vt:lpwstr>
  </property>
  <property fmtid="{D5CDD505-2E9C-101B-9397-08002B2CF9AE}" pid="7" name="MSIP_Label_e25d5927-0177-40de-b08f-031f02f4364d_SiteId">
    <vt:lpwstr>ff3810cc-4769-4b52-8b17-179b2f768960</vt:lpwstr>
  </property>
  <property fmtid="{D5CDD505-2E9C-101B-9397-08002B2CF9AE}" pid="8" name="MSIP_Label_e25d5927-0177-40de-b08f-031f02f4364d_ActionId">
    <vt:lpwstr>f3f56071-bfcd-403d-9df1-fd4d57a9f13b</vt:lpwstr>
  </property>
  <property fmtid="{D5CDD505-2E9C-101B-9397-08002B2CF9AE}" pid="9" name="MSIP_Label_e25d5927-0177-40de-b08f-031f02f4364d_ContentBits">
    <vt:lpwstr>2</vt:lpwstr>
  </property>
  <property fmtid="{D5CDD505-2E9C-101B-9397-08002B2CF9AE}" pid="10" name="ClassificationContentMarkingFooterLocations">
    <vt:lpwstr>Office-Design:8</vt:lpwstr>
  </property>
  <property fmtid="{D5CDD505-2E9C-101B-9397-08002B2CF9AE}" pid="11" name="ClassificationContentMarkingFooterText">
    <vt:lpwstr>Sensitivity: Miba Public</vt:lpwstr>
  </property>
</Properties>
</file>